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14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3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3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04" r:id="rId2"/>
    <p:sldId id="380" r:id="rId3"/>
    <p:sldId id="406" r:id="rId4"/>
    <p:sldId id="408" r:id="rId5"/>
    <p:sldId id="403" r:id="rId6"/>
    <p:sldId id="383" r:id="rId7"/>
    <p:sldId id="400" r:id="rId8"/>
    <p:sldId id="347" r:id="rId9"/>
    <p:sldId id="405" r:id="rId10"/>
  </p:sldIdLst>
  <p:sldSz cx="9144000" cy="5143500" type="screen16x9"/>
  <p:notesSz cx="6669088" cy="9928225"/>
  <p:embeddedFontLst>
    <p:embeddedFont>
      <p:font typeface="Vodafone Rg" pitchFamily="34" charset="0"/>
      <p:regular r:id="rId13"/>
      <p:bold r:id="rId14"/>
    </p:embeddedFont>
    <p:embeddedFont>
      <p:font typeface="Vodafone Lt" pitchFamily="34" charset="0"/>
      <p:regular r:id="rId15"/>
    </p:embeddedFont>
    <p:embeddedFont>
      <p:font typeface="Calibri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2314"/>
    <a:srgbClr val="000000"/>
    <a:srgbClr val="FFFFFF"/>
    <a:srgbClr val="FFFFFB"/>
    <a:srgbClr val="00004F"/>
    <a:srgbClr val="00B0CA"/>
    <a:srgbClr val="007C92"/>
    <a:srgbClr val="5E2750"/>
    <a:srgbClr val="54575A"/>
    <a:srgbClr val="EB9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37" autoAdjust="0"/>
    <p:restoredTop sz="74067" autoAdjust="0"/>
  </p:normalViewPr>
  <p:slideViewPr>
    <p:cSldViewPr snapToGrid="0" showGuides="1">
      <p:cViewPr varScale="1">
        <p:scale>
          <a:sx n="66" d="100"/>
          <a:sy n="66" d="100"/>
        </p:scale>
        <p:origin x="-1500" y="-102"/>
      </p:cViewPr>
      <p:guideLst>
        <p:guide orient="horz" pos="2936"/>
        <p:guide orient="horz" pos="622"/>
        <p:guide orient="horz" pos="1382"/>
        <p:guide pos="289"/>
        <p:guide pos="2653"/>
        <p:guide pos="4922"/>
        <p:guide pos="2562"/>
        <p:guide pos="18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howGuides="1">
      <p:cViewPr varScale="1">
        <p:scale>
          <a:sx n="73" d="100"/>
          <a:sy n="73" d="100"/>
        </p:scale>
        <p:origin x="-3426" y="-108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viewProps" Target="viewProps.xml"/><Relationship Id="rId27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584B7D-F332-42E4-B349-DEDC589F1ADB}" type="datetimeFigureOut">
              <a:rPr lang="en-GB" smtClean="0">
                <a:latin typeface="Vodafone Rg" pitchFamily="34" charset="0"/>
              </a:rPr>
              <a:pPr/>
              <a:t>09/09/2013</a:t>
            </a:fld>
            <a:endParaRPr lang="en-GB" dirty="0">
              <a:latin typeface="Vodafone Rg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43009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C1BE2-1563-4C9C-8E4A-C427D52BD2E1}" type="slidenum">
              <a:rPr lang="en-GB" smtClean="0">
                <a:latin typeface="Vodafone Rg" pitchFamily="34" charset="0"/>
              </a:rPr>
              <a:pPr/>
              <a:t>‹#›</a:t>
            </a:fld>
            <a:endParaRPr lang="en-GB" dirty="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7412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53ACD7AC-7E6F-4F59-A8AC-F454A6DBBD3A}" type="datetimeFigureOut">
              <a:rPr lang="en-GB" smtClean="0"/>
              <a:pPr/>
              <a:t>09/09/201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30093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2B3E1866-6ABF-4414-AFB5-B91146A1FA1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00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6010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1517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0308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r>
              <a:rPr lang="en-US" dirty="0" smtClean="0"/>
              <a:t>In order to drive improvements in the</a:t>
            </a:r>
            <a:r>
              <a:rPr lang="en-US" baseline="0" dirty="0" smtClean="0"/>
              <a:t> industry and support innovation with an eco </a:t>
            </a:r>
            <a:r>
              <a:rPr lang="en-US" baseline="0" dirty="0" smtClean="0"/>
              <a:t>rating:</a:t>
            </a:r>
            <a:endParaRPr lang="en-US" baseline="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We need to educate customers about the broad impact of a device, so not just ecological but also social, not just negative, but also the positive impac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We need to make the rating relevant to our customers in order to allow them to further adopt it and drive innova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baseline="0" dirty="0" smtClean="0"/>
              <a:t>We need to take away the confusion in the market place, and the only way we can do that is by standardizing eco rating, which is why we are her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119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17762" y="3168048"/>
            <a:ext cx="3445924" cy="1393833"/>
          </a:xfrm>
        </p:spPr>
        <p:txBody>
          <a:bodyPr>
            <a:normAutofit/>
          </a:bodyPr>
          <a:lstStyle>
            <a:lvl1pPr algn="r">
              <a:lnSpc>
                <a:spcPts val="3440"/>
              </a:lnSpc>
              <a:defRPr sz="3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17761" y="4587613"/>
            <a:ext cx="3454392" cy="555887"/>
          </a:xfrm>
        </p:spPr>
        <p:txBody>
          <a:bodyPr>
            <a:noAutofit/>
          </a:bodyPr>
          <a:lstStyle>
            <a:lvl1pPr marL="0" indent="0" algn="r">
              <a:buNone/>
              <a:defRPr sz="16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8053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01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600" y="2811600"/>
            <a:ext cx="1890000" cy="1854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2200" i="0" dirty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pPr marL="0" lvl="0">
              <a:lnSpc>
                <a:spcPts val="2540"/>
              </a:lnSpc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100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81314" y="2193925"/>
            <a:ext cx="4932362" cy="24669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1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6" name="Picture 5" descr="whiteRhombu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12" r="74732" b="21581"/>
          <a:stretch/>
        </p:blipFill>
        <p:spPr>
          <a:xfrm>
            <a:off x="7376206" y="1"/>
            <a:ext cx="176779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0374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3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2125697" y="987425"/>
            <a:ext cx="4892606" cy="3669454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Insert 4x3 video</a:t>
            </a:r>
            <a:endParaRPr lang="en-US" dirty="0"/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8052483" y="3903069"/>
            <a:ext cx="1752442" cy="1170364"/>
            <a:chOff x="7928658" y="3767336"/>
            <a:chExt cx="1947161" cy="1300404"/>
          </a:xfrm>
        </p:grpSpPr>
        <p:sp>
          <p:nvSpPr>
            <p:cNvPr id="7" name="Rectangle 12"/>
            <p:cNvSpPr/>
            <p:nvPr userDrawn="1"/>
          </p:nvSpPr>
          <p:spPr>
            <a:xfrm rot="18900000" flipH="1">
              <a:off x="8027848" y="3767336"/>
              <a:ext cx="1847971" cy="1300404"/>
            </a:xfrm>
            <a:custGeom>
              <a:avLst/>
              <a:gdLst>
                <a:gd name="connsiteX0" fmla="*/ 0 w 8255456"/>
                <a:gd name="connsiteY0" fmla="*/ 0 h 7120877"/>
                <a:gd name="connsiteX1" fmla="*/ 8255456 w 8255456"/>
                <a:gd name="connsiteY1" fmla="*/ 0 h 7120877"/>
                <a:gd name="connsiteX2" fmla="*/ 8255456 w 8255456"/>
                <a:gd name="connsiteY2" fmla="*/ 7120877 h 7120877"/>
                <a:gd name="connsiteX3" fmla="*/ 0 w 8255456"/>
                <a:gd name="connsiteY3" fmla="*/ 7120877 h 7120877"/>
                <a:gd name="connsiteX4" fmla="*/ 0 w 8255456"/>
                <a:gd name="connsiteY4" fmla="*/ 0 h 7120877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5456 w 8255456"/>
                <a:gd name="connsiteY2" fmla="*/ 662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580"/>
                <a:gd name="connsiteY0" fmla="*/ 662 h 7121539"/>
                <a:gd name="connsiteX1" fmla="*/ 7679621 w 8255580"/>
                <a:gd name="connsiteY1" fmla="*/ 0 h 7121539"/>
                <a:gd name="connsiteX2" fmla="*/ 8255456 w 8255580"/>
                <a:gd name="connsiteY2" fmla="*/ 662 h 7121539"/>
                <a:gd name="connsiteX3" fmla="*/ 8254780 w 8255580"/>
                <a:gd name="connsiteY3" fmla="*/ 529754 h 7121539"/>
                <a:gd name="connsiteX4" fmla="*/ 8255456 w 8255580"/>
                <a:gd name="connsiteY4" fmla="*/ 7121539 h 7121539"/>
                <a:gd name="connsiteX5" fmla="*/ 0 w 8255580"/>
                <a:gd name="connsiteY5" fmla="*/ 7121539 h 7121539"/>
                <a:gd name="connsiteX6" fmla="*/ 0 w 8255580"/>
                <a:gd name="connsiteY6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3482864 w 8255456"/>
                <a:gd name="connsiteY1" fmla="*/ 4144 h 7121539"/>
                <a:gd name="connsiteX2" fmla="*/ 7679621 w 8255456"/>
                <a:gd name="connsiteY2" fmla="*/ 0 h 7121539"/>
                <a:gd name="connsiteX3" fmla="*/ 8254780 w 8255456"/>
                <a:gd name="connsiteY3" fmla="*/ 529754 h 7121539"/>
                <a:gd name="connsiteX4" fmla="*/ 8255456 w 8255456"/>
                <a:gd name="connsiteY4" fmla="*/ 7121539 h 7121539"/>
                <a:gd name="connsiteX5" fmla="*/ 0 w 8255456"/>
                <a:gd name="connsiteY5" fmla="*/ 7121539 h 7121539"/>
                <a:gd name="connsiteX6" fmla="*/ 0 w 8255456"/>
                <a:gd name="connsiteY6" fmla="*/ 662 h 7121539"/>
                <a:gd name="connsiteX0" fmla="*/ 1779 w 8257235"/>
                <a:gd name="connsiteY0" fmla="*/ 662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7" fmla="*/ 1779 w 8257235"/>
                <a:gd name="connsiteY7" fmla="*/ 662 h 7121539"/>
                <a:gd name="connsiteX0" fmla="*/ 0 w 8257235"/>
                <a:gd name="connsiteY0" fmla="*/ 3482279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0" fmla="*/ 0 w 8257235"/>
                <a:gd name="connsiteY0" fmla="*/ 3482279 h 7129740"/>
                <a:gd name="connsiteX1" fmla="*/ 3484643 w 8257235"/>
                <a:gd name="connsiteY1" fmla="*/ 4144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0 w 8257235"/>
                <a:gd name="connsiteY0" fmla="*/ 3482279 h 7129740"/>
                <a:gd name="connsiteX1" fmla="*/ 2845602 w 8257235"/>
                <a:gd name="connsiteY1" fmla="*/ 4156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183222 w 8255458"/>
                <a:gd name="connsiteY0" fmla="*/ 2698609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83222 w 8255458"/>
                <a:gd name="connsiteY7" fmla="*/ 2698609 h 7129740"/>
                <a:gd name="connsiteX0" fmla="*/ 166405 w 8255458"/>
                <a:gd name="connsiteY0" fmla="*/ 2688520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66405 w 8255458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2968523 w 8089053"/>
                <a:gd name="connsiteY6" fmla="*/ 5902401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92356"/>
                <a:gd name="connsiteY0" fmla="*/ 2688520 h 7121539"/>
                <a:gd name="connsiteX1" fmla="*/ 2677420 w 8092356"/>
                <a:gd name="connsiteY1" fmla="*/ 4156 h 7121539"/>
                <a:gd name="connsiteX2" fmla="*/ 7513218 w 8092356"/>
                <a:gd name="connsiteY2" fmla="*/ 0 h 7121539"/>
                <a:gd name="connsiteX3" fmla="*/ 8088377 w 8092356"/>
                <a:gd name="connsiteY3" fmla="*/ 529754 h 7121539"/>
                <a:gd name="connsiteX4" fmla="*/ 8089053 w 8092356"/>
                <a:gd name="connsiteY4" fmla="*/ 7121539 h 7121539"/>
                <a:gd name="connsiteX5" fmla="*/ 6174733 w 8092356"/>
                <a:gd name="connsiteY5" fmla="*/ 4217961 h 7121539"/>
                <a:gd name="connsiteX6" fmla="*/ 3637961 w 8092356"/>
                <a:gd name="connsiteY6" fmla="*/ 6332365 h 7121539"/>
                <a:gd name="connsiteX7" fmla="*/ 0 w 8092356"/>
                <a:gd name="connsiteY7" fmla="*/ 2688520 h 7121539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6174733 w 8094998"/>
                <a:gd name="connsiteY5" fmla="*/ 4217961 h 6332365"/>
                <a:gd name="connsiteX6" fmla="*/ 3637961 w 8094998"/>
                <a:gd name="connsiteY6" fmla="*/ 6332365 h 6332365"/>
                <a:gd name="connsiteX7" fmla="*/ 0 w 8094998"/>
                <a:gd name="connsiteY7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3872205 w 8088495"/>
                <a:gd name="connsiteY1" fmla="*/ 314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94110"/>
                <a:gd name="connsiteY0" fmla="*/ 2688520 h 2688521"/>
                <a:gd name="connsiteX1" fmla="*/ 3872205 w 8094110"/>
                <a:gd name="connsiteY1" fmla="*/ 314 h 2688521"/>
                <a:gd name="connsiteX2" fmla="*/ 7513218 w 8094110"/>
                <a:gd name="connsiteY2" fmla="*/ 0 h 2688521"/>
                <a:gd name="connsiteX3" fmla="*/ 8088377 w 8094110"/>
                <a:gd name="connsiteY3" fmla="*/ 529754 h 2688521"/>
                <a:gd name="connsiteX4" fmla="*/ 8088496 w 8094110"/>
                <a:gd name="connsiteY4" fmla="*/ 1734396 h 2688521"/>
                <a:gd name="connsiteX5" fmla="*/ 6803561 w 8094110"/>
                <a:gd name="connsiteY5" fmla="*/ 2598190 h 2688521"/>
                <a:gd name="connsiteX6" fmla="*/ 0 w 8094110"/>
                <a:gd name="connsiteY6" fmla="*/ 2688520 h 2688521"/>
                <a:gd name="connsiteX0" fmla="*/ 0 w 8100072"/>
                <a:gd name="connsiteY0" fmla="*/ 2688520 h 2966994"/>
                <a:gd name="connsiteX1" fmla="*/ 3872205 w 8100072"/>
                <a:gd name="connsiteY1" fmla="*/ 314 h 2966994"/>
                <a:gd name="connsiteX2" fmla="*/ 7513218 w 8100072"/>
                <a:gd name="connsiteY2" fmla="*/ 0 h 2966994"/>
                <a:gd name="connsiteX3" fmla="*/ 8088377 w 8100072"/>
                <a:gd name="connsiteY3" fmla="*/ 529754 h 2966994"/>
                <a:gd name="connsiteX4" fmla="*/ 8088496 w 8100072"/>
                <a:gd name="connsiteY4" fmla="*/ 1734396 h 2966994"/>
                <a:gd name="connsiteX5" fmla="*/ 6849660 w 8100072"/>
                <a:gd name="connsiteY5" fmla="*/ 2966995 h 2966994"/>
                <a:gd name="connsiteX6" fmla="*/ 0 w 8100072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2981176 w 4220011"/>
                <a:gd name="connsiteY0" fmla="*/ 2966995 h 2966994"/>
                <a:gd name="connsiteX1" fmla="*/ 3721 w 4220011"/>
                <a:gd name="connsiteY1" fmla="*/ 314 h 2966994"/>
                <a:gd name="connsiteX2" fmla="*/ 3644734 w 4220011"/>
                <a:gd name="connsiteY2" fmla="*/ 0 h 2966994"/>
                <a:gd name="connsiteX3" fmla="*/ 4219893 w 4220011"/>
                <a:gd name="connsiteY3" fmla="*/ 529754 h 2966994"/>
                <a:gd name="connsiteX4" fmla="*/ 4220012 w 4220011"/>
                <a:gd name="connsiteY4" fmla="*/ 1734396 h 2966994"/>
                <a:gd name="connsiteX5" fmla="*/ 2981176 w 4220011"/>
                <a:gd name="connsiteY5" fmla="*/ 2966995 h 2966994"/>
                <a:gd name="connsiteX0" fmla="*/ 2977494 w 4216329"/>
                <a:gd name="connsiteY0" fmla="*/ 2966995 h 2966994"/>
                <a:gd name="connsiteX1" fmla="*/ 39 w 4216329"/>
                <a:gd name="connsiteY1" fmla="*/ 314 h 2966994"/>
                <a:gd name="connsiteX2" fmla="*/ 3641052 w 4216329"/>
                <a:gd name="connsiteY2" fmla="*/ 0 h 2966994"/>
                <a:gd name="connsiteX3" fmla="*/ 4216211 w 4216329"/>
                <a:gd name="connsiteY3" fmla="*/ 529754 h 2966994"/>
                <a:gd name="connsiteX4" fmla="*/ 4216330 w 4216329"/>
                <a:gd name="connsiteY4" fmla="*/ 1734396 h 2966994"/>
                <a:gd name="connsiteX5" fmla="*/ 2977494 w 4216329"/>
                <a:gd name="connsiteY5" fmla="*/ 2966995 h 2966994"/>
                <a:gd name="connsiteX0" fmla="*/ 2977485 w 4216320"/>
                <a:gd name="connsiteY0" fmla="*/ 2966995 h 2966994"/>
                <a:gd name="connsiteX1" fmla="*/ 30 w 4216320"/>
                <a:gd name="connsiteY1" fmla="*/ 314 h 2966994"/>
                <a:gd name="connsiteX2" fmla="*/ 3641043 w 4216320"/>
                <a:gd name="connsiteY2" fmla="*/ 0 h 2966994"/>
                <a:gd name="connsiteX3" fmla="*/ 4216202 w 4216320"/>
                <a:gd name="connsiteY3" fmla="*/ 529754 h 2966994"/>
                <a:gd name="connsiteX4" fmla="*/ 4216321 w 4216320"/>
                <a:gd name="connsiteY4" fmla="*/ 1734396 h 2966994"/>
                <a:gd name="connsiteX5" fmla="*/ 2977485 w 4216320"/>
                <a:gd name="connsiteY5" fmla="*/ 2966995 h 296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6320" h="2966994">
                  <a:moveTo>
                    <a:pt x="2977485" y="2966995"/>
                  </a:moveTo>
                  <a:cubicBezTo>
                    <a:pt x="2966282" y="2962270"/>
                    <a:pt x="-10679" y="-12298"/>
                    <a:pt x="30" y="314"/>
                  </a:cubicBezTo>
                  <a:lnTo>
                    <a:pt x="3641043" y="0"/>
                  </a:lnTo>
                  <a:cubicBezTo>
                    <a:pt x="3974023" y="20189"/>
                    <a:pt x="3928622" y="264877"/>
                    <a:pt x="4216202" y="529754"/>
                  </a:cubicBezTo>
                  <a:cubicBezTo>
                    <a:pt x="4216427" y="2727016"/>
                    <a:pt x="4214841" y="1705745"/>
                    <a:pt x="4216321" y="1734396"/>
                  </a:cubicBezTo>
                  <a:cubicBezTo>
                    <a:pt x="4208038" y="1738041"/>
                    <a:pt x="2981924" y="2959513"/>
                    <a:pt x="2977485" y="2966995"/>
                  </a:cubicBezTo>
                  <a:close/>
                </a:path>
              </a:pathLst>
            </a:cu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R="0" lvl="0" indent="0" fontAlgn="base">
                <a:lnSpc>
                  <a:spcPts val="26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</a:pPr>
              <a:endParaRPr kumimoji="0" lang="en-US" sz="2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odafone Lt" pitchFamily="34" charset="0"/>
              </a:endParaRPr>
            </a:p>
          </p:txBody>
        </p:sp>
        <p:pic>
          <p:nvPicPr>
            <p:cNvPr id="8" name="Picture 7" descr="VF_4col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8658" y="4373113"/>
              <a:ext cx="487422" cy="478282"/>
            </a:xfrm>
            <a:prstGeom prst="rect">
              <a:avLst/>
            </a:prstGeom>
          </p:spPr>
        </p:pic>
      </p:grp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14754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x9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1577656" y="987425"/>
            <a:ext cx="5985514" cy="3366852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Insert 16x9 video</a:t>
            </a:r>
            <a:endParaRPr lang="en-US" dirty="0"/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8052483" y="3903069"/>
            <a:ext cx="1752442" cy="1170364"/>
            <a:chOff x="7928658" y="3767336"/>
            <a:chExt cx="1947161" cy="1300404"/>
          </a:xfrm>
        </p:grpSpPr>
        <p:sp>
          <p:nvSpPr>
            <p:cNvPr id="8" name="Rectangle 12"/>
            <p:cNvSpPr/>
            <p:nvPr userDrawn="1"/>
          </p:nvSpPr>
          <p:spPr>
            <a:xfrm rot="18900000" flipH="1">
              <a:off x="8027848" y="3767336"/>
              <a:ext cx="1847971" cy="1300404"/>
            </a:xfrm>
            <a:custGeom>
              <a:avLst/>
              <a:gdLst>
                <a:gd name="connsiteX0" fmla="*/ 0 w 8255456"/>
                <a:gd name="connsiteY0" fmla="*/ 0 h 7120877"/>
                <a:gd name="connsiteX1" fmla="*/ 8255456 w 8255456"/>
                <a:gd name="connsiteY1" fmla="*/ 0 h 7120877"/>
                <a:gd name="connsiteX2" fmla="*/ 8255456 w 8255456"/>
                <a:gd name="connsiteY2" fmla="*/ 7120877 h 7120877"/>
                <a:gd name="connsiteX3" fmla="*/ 0 w 8255456"/>
                <a:gd name="connsiteY3" fmla="*/ 7120877 h 7120877"/>
                <a:gd name="connsiteX4" fmla="*/ 0 w 8255456"/>
                <a:gd name="connsiteY4" fmla="*/ 0 h 7120877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5456 w 8255456"/>
                <a:gd name="connsiteY2" fmla="*/ 662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580"/>
                <a:gd name="connsiteY0" fmla="*/ 662 h 7121539"/>
                <a:gd name="connsiteX1" fmla="*/ 7679621 w 8255580"/>
                <a:gd name="connsiteY1" fmla="*/ 0 h 7121539"/>
                <a:gd name="connsiteX2" fmla="*/ 8255456 w 8255580"/>
                <a:gd name="connsiteY2" fmla="*/ 662 h 7121539"/>
                <a:gd name="connsiteX3" fmla="*/ 8254780 w 8255580"/>
                <a:gd name="connsiteY3" fmla="*/ 529754 h 7121539"/>
                <a:gd name="connsiteX4" fmla="*/ 8255456 w 8255580"/>
                <a:gd name="connsiteY4" fmla="*/ 7121539 h 7121539"/>
                <a:gd name="connsiteX5" fmla="*/ 0 w 8255580"/>
                <a:gd name="connsiteY5" fmla="*/ 7121539 h 7121539"/>
                <a:gd name="connsiteX6" fmla="*/ 0 w 8255580"/>
                <a:gd name="connsiteY6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3482864 w 8255456"/>
                <a:gd name="connsiteY1" fmla="*/ 4144 h 7121539"/>
                <a:gd name="connsiteX2" fmla="*/ 7679621 w 8255456"/>
                <a:gd name="connsiteY2" fmla="*/ 0 h 7121539"/>
                <a:gd name="connsiteX3" fmla="*/ 8254780 w 8255456"/>
                <a:gd name="connsiteY3" fmla="*/ 529754 h 7121539"/>
                <a:gd name="connsiteX4" fmla="*/ 8255456 w 8255456"/>
                <a:gd name="connsiteY4" fmla="*/ 7121539 h 7121539"/>
                <a:gd name="connsiteX5" fmla="*/ 0 w 8255456"/>
                <a:gd name="connsiteY5" fmla="*/ 7121539 h 7121539"/>
                <a:gd name="connsiteX6" fmla="*/ 0 w 8255456"/>
                <a:gd name="connsiteY6" fmla="*/ 662 h 7121539"/>
                <a:gd name="connsiteX0" fmla="*/ 1779 w 8257235"/>
                <a:gd name="connsiteY0" fmla="*/ 662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7" fmla="*/ 1779 w 8257235"/>
                <a:gd name="connsiteY7" fmla="*/ 662 h 7121539"/>
                <a:gd name="connsiteX0" fmla="*/ 0 w 8257235"/>
                <a:gd name="connsiteY0" fmla="*/ 3482279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0" fmla="*/ 0 w 8257235"/>
                <a:gd name="connsiteY0" fmla="*/ 3482279 h 7129740"/>
                <a:gd name="connsiteX1" fmla="*/ 3484643 w 8257235"/>
                <a:gd name="connsiteY1" fmla="*/ 4144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0 w 8257235"/>
                <a:gd name="connsiteY0" fmla="*/ 3482279 h 7129740"/>
                <a:gd name="connsiteX1" fmla="*/ 2845602 w 8257235"/>
                <a:gd name="connsiteY1" fmla="*/ 4156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183222 w 8255458"/>
                <a:gd name="connsiteY0" fmla="*/ 2698609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83222 w 8255458"/>
                <a:gd name="connsiteY7" fmla="*/ 2698609 h 7129740"/>
                <a:gd name="connsiteX0" fmla="*/ 166405 w 8255458"/>
                <a:gd name="connsiteY0" fmla="*/ 2688520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66405 w 8255458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2968523 w 8089053"/>
                <a:gd name="connsiteY6" fmla="*/ 5902401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92356"/>
                <a:gd name="connsiteY0" fmla="*/ 2688520 h 7121539"/>
                <a:gd name="connsiteX1" fmla="*/ 2677420 w 8092356"/>
                <a:gd name="connsiteY1" fmla="*/ 4156 h 7121539"/>
                <a:gd name="connsiteX2" fmla="*/ 7513218 w 8092356"/>
                <a:gd name="connsiteY2" fmla="*/ 0 h 7121539"/>
                <a:gd name="connsiteX3" fmla="*/ 8088377 w 8092356"/>
                <a:gd name="connsiteY3" fmla="*/ 529754 h 7121539"/>
                <a:gd name="connsiteX4" fmla="*/ 8089053 w 8092356"/>
                <a:gd name="connsiteY4" fmla="*/ 7121539 h 7121539"/>
                <a:gd name="connsiteX5" fmla="*/ 6174733 w 8092356"/>
                <a:gd name="connsiteY5" fmla="*/ 4217961 h 7121539"/>
                <a:gd name="connsiteX6" fmla="*/ 3637961 w 8092356"/>
                <a:gd name="connsiteY6" fmla="*/ 6332365 h 7121539"/>
                <a:gd name="connsiteX7" fmla="*/ 0 w 8092356"/>
                <a:gd name="connsiteY7" fmla="*/ 2688520 h 7121539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6174733 w 8094998"/>
                <a:gd name="connsiteY5" fmla="*/ 4217961 h 6332365"/>
                <a:gd name="connsiteX6" fmla="*/ 3637961 w 8094998"/>
                <a:gd name="connsiteY6" fmla="*/ 6332365 h 6332365"/>
                <a:gd name="connsiteX7" fmla="*/ 0 w 8094998"/>
                <a:gd name="connsiteY7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3872205 w 8088495"/>
                <a:gd name="connsiteY1" fmla="*/ 314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94110"/>
                <a:gd name="connsiteY0" fmla="*/ 2688520 h 2688521"/>
                <a:gd name="connsiteX1" fmla="*/ 3872205 w 8094110"/>
                <a:gd name="connsiteY1" fmla="*/ 314 h 2688521"/>
                <a:gd name="connsiteX2" fmla="*/ 7513218 w 8094110"/>
                <a:gd name="connsiteY2" fmla="*/ 0 h 2688521"/>
                <a:gd name="connsiteX3" fmla="*/ 8088377 w 8094110"/>
                <a:gd name="connsiteY3" fmla="*/ 529754 h 2688521"/>
                <a:gd name="connsiteX4" fmla="*/ 8088496 w 8094110"/>
                <a:gd name="connsiteY4" fmla="*/ 1734396 h 2688521"/>
                <a:gd name="connsiteX5" fmla="*/ 6803561 w 8094110"/>
                <a:gd name="connsiteY5" fmla="*/ 2598190 h 2688521"/>
                <a:gd name="connsiteX6" fmla="*/ 0 w 8094110"/>
                <a:gd name="connsiteY6" fmla="*/ 2688520 h 2688521"/>
                <a:gd name="connsiteX0" fmla="*/ 0 w 8100072"/>
                <a:gd name="connsiteY0" fmla="*/ 2688520 h 2966994"/>
                <a:gd name="connsiteX1" fmla="*/ 3872205 w 8100072"/>
                <a:gd name="connsiteY1" fmla="*/ 314 h 2966994"/>
                <a:gd name="connsiteX2" fmla="*/ 7513218 w 8100072"/>
                <a:gd name="connsiteY2" fmla="*/ 0 h 2966994"/>
                <a:gd name="connsiteX3" fmla="*/ 8088377 w 8100072"/>
                <a:gd name="connsiteY3" fmla="*/ 529754 h 2966994"/>
                <a:gd name="connsiteX4" fmla="*/ 8088496 w 8100072"/>
                <a:gd name="connsiteY4" fmla="*/ 1734396 h 2966994"/>
                <a:gd name="connsiteX5" fmla="*/ 6849660 w 8100072"/>
                <a:gd name="connsiteY5" fmla="*/ 2966995 h 2966994"/>
                <a:gd name="connsiteX6" fmla="*/ 0 w 8100072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2981176 w 4220011"/>
                <a:gd name="connsiteY0" fmla="*/ 2966995 h 2966994"/>
                <a:gd name="connsiteX1" fmla="*/ 3721 w 4220011"/>
                <a:gd name="connsiteY1" fmla="*/ 314 h 2966994"/>
                <a:gd name="connsiteX2" fmla="*/ 3644734 w 4220011"/>
                <a:gd name="connsiteY2" fmla="*/ 0 h 2966994"/>
                <a:gd name="connsiteX3" fmla="*/ 4219893 w 4220011"/>
                <a:gd name="connsiteY3" fmla="*/ 529754 h 2966994"/>
                <a:gd name="connsiteX4" fmla="*/ 4220012 w 4220011"/>
                <a:gd name="connsiteY4" fmla="*/ 1734396 h 2966994"/>
                <a:gd name="connsiteX5" fmla="*/ 2981176 w 4220011"/>
                <a:gd name="connsiteY5" fmla="*/ 2966995 h 2966994"/>
                <a:gd name="connsiteX0" fmla="*/ 2977494 w 4216329"/>
                <a:gd name="connsiteY0" fmla="*/ 2966995 h 2966994"/>
                <a:gd name="connsiteX1" fmla="*/ 39 w 4216329"/>
                <a:gd name="connsiteY1" fmla="*/ 314 h 2966994"/>
                <a:gd name="connsiteX2" fmla="*/ 3641052 w 4216329"/>
                <a:gd name="connsiteY2" fmla="*/ 0 h 2966994"/>
                <a:gd name="connsiteX3" fmla="*/ 4216211 w 4216329"/>
                <a:gd name="connsiteY3" fmla="*/ 529754 h 2966994"/>
                <a:gd name="connsiteX4" fmla="*/ 4216330 w 4216329"/>
                <a:gd name="connsiteY4" fmla="*/ 1734396 h 2966994"/>
                <a:gd name="connsiteX5" fmla="*/ 2977494 w 4216329"/>
                <a:gd name="connsiteY5" fmla="*/ 2966995 h 2966994"/>
                <a:gd name="connsiteX0" fmla="*/ 2977485 w 4216320"/>
                <a:gd name="connsiteY0" fmla="*/ 2966995 h 2966994"/>
                <a:gd name="connsiteX1" fmla="*/ 30 w 4216320"/>
                <a:gd name="connsiteY1" fmla="*/ 314 h 2966994"/>
                <a:gd name="connsiteX2" fmla="*/ 3641043 w 4216320"/>
                <a:gd name="connsiteY2" fmla="*/ 0 h 2966994"/>
                <a:gd name="connsiteX3" fmla="*/ 4216202 w 4216320"/>
                <a:gd name="connsiteY3" fmla="*/ 529754 h 2966994"/>
                <a:gd name="connsiteX4" fmla="*/ 4216321 w 4216320"/>
                <a:gd name="connsiteY4" fmla="*/ 1734396 h 2966994"/>
                <a:gd name="connsiteX5" fmla="*/ 2977485 w 4216320"/>
                <a:gd name="connsiteY5" fmla="*/ 2966995 h 296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6320" h="2966994">
                  <a:moveTo>
                    <a:pt x="2977485" y="2966995"/>
                  </a:moveTo>
                  <a:cubicBezTo>
                    <a:pt x="2966282" y="2962270"/>
                    <a:pt x="-10679" y="-12298"/>
                    <a:pt x="30" y="314"/>
                  </a:cubicBezTo>
                  <a:lnTo>
                    <a:pt x="3641043" y="0"/>
                  </a:lnTo>
                  <a:cubicBezTo>
                    <a:pt x="3974023" y="20189"/>
                    <a:pt x="3928622" y="264877"/>
                    <a:pt x="4216202" y="529754"/>
                  </a:cubicBezTo>
                  <a:cubicBezTo>
                    <a:pt x="4216427" y="2727016"/>
                    <a:pt x="4214841" y="1705745"/>
                    <a:pt x="4216321" y="1734396"/>
                  </a:cubicBezTo>
                  <a:cubicBezTo>
                    <a:pt x="4208038" y="1738041"/>
                    <a:pt x="2981924" y="2959513"/>
                    <a:pt x="2977485" y="2966995"/>
                  </a:cubicBezTo>
                  <a:close/>
                </a:path>
              </a:pathLst>
            </a:cu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R="0" lvl="0" indent="0" fontAlgn="base">
                <a:lnSpc>
                  <a:spcPts val="26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</a:pPr>
              <a:endParaRPr kumimoji="0" lang="en-US" sz="2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odafone Lt" pitchFamily="34" charset="0"/>
              </a:endParaRPr>
            </a:p>
          </p:txBody>
        </p:sp>
        <p:pic>
          <p:nvPicPr>
            <p:cNvPr id="9" name="Picture 8" descr="VF_4col.pn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8658" y="4373113"/>
              <a:ext cx="487422" cy="478282"/>
            </a:xfrm>
            <a:prstGeom prst="rect">
              <a:avLst/>
            </a:prstGeom>
          </p:spPr>
        </p:pic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6840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 descr="powerPo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6" t="24919" b="34717"/>
          <a:stretch/>
        </p:blipFill>
        <p:spPr>
          <a:xfrm>
            <a:off x="-1491916" y="0"/>
            <a:ext cx="660366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9537" y="2380474"/>
            <a:ext cx="3445924" cy="1393833"/>
          </a:xfrm>
        </p:spPr>
        <p:txBody>
          <a:bodyPr>
            <a:normAutofit/>
          </a:bodyPr>
          <a:lstStyle>
            <a:lvl1pPr algn="l">
              <a:lnSpc>
                <a:spcPts val="3440"/>
              </a:lnSpc>
              <a:defRPr sz="3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9536" y="3800039"/>
            <a:ext cx="3454392" cy="682887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365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Rhombus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007" r="22305" b="20144"/>
          <a:stretch/>
        </p:blipFill>
        <p:spPr>
          <a:xfrm>
            <a:off x="3614363" y="0"/>
            <a:ext cx="552963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32041" y="987574"/>
            <a:ext cx="3747344" cy="1393833"/>
          </a:xfrm>
        </p:spPr>
        <p:txBody>
          <a:bodyPr>
            <a:normAutofit/>
          </a:bodyPr>
          <a:lstStyle>
            <a:lvl1pPr algn="r">
              <a:lnSpc>
                <a:spcPts val="3440"/>
              </a:lnSpc>
              <a:defRPr sz="3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2301" y="2407139"/>
            <a:ext cx="3743387" cy="682887"/>
          </a:xfrm>
        </p:spPr>
        <p:txBody>
          <a:bodyPr>
            <a:no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3754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205199"/>
            <a:ext cx="7354888" cy="78222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457200" y="987425"/>
            <a:ext cx="7354888" cy="367188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 marL="809625" indent="0">
              <a:buNone/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016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205199"/>
            <a:ext cx="7354888" cy="782225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457200" y="987425"/>
            <a:ext cx="3609975" cy="3671888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8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211638" y="987425"/>
            <a:ext cx="3602037" cy="367188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816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and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205200"/>
            <a:ext cx="4117199" cy="782225"/>
          </a:xfrm>
        </p:spPr>
        <p:txBody>
          <a:bodyPr/>
          <a:lstStyle>
            <a:lvl1pPr>
              <a:defRPr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457200" y="1203597"/>
            <a:ext cx="4114799" cy="3455715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1800" dirty="0" smtClean="0"/>
            </a:lvl1pPr>
            <a:lvl2pPr marL="266700" indent="0">
              <a:buNone/>
              <a:defRPr lang="en-US" sz="1400" dirty="0" smtClean="0"/>
            </a:lvl2pPr>
            <a:lvl3pPr marL="542925" indent="0">
              <a:buNone/>
              <a:defRPr lang="en-US" sz="1400" dirty="0" smtClean="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939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owerPo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85" t="40599" b="3153"/>
          <a:stretch/>
        </p:blipFill>
        <p:spPr>
          <a:xfrm>
            <a:off x="-1" y="-1"/>
            <a:ext cx="2804365" cy="51435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7210" y="735446"/>
            <a:ext cx="1846865" cy="1836303"/>
          </a:xfrm>
        </p:spPr>
        <p:txBody>
          <a:bodyPr>
            <a:normAutofit/>
          </a:bodyPr>
          <a:lstStyle>
            <a:lvl1pPr algn="l">
              <a:lnSpc>
                <a:spcPts val="254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200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2" y="987425"/>
            <a:ext cx="3598863" cy="367188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4200"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211638" y="1149350"/>
            <a:ext cx="1693862" cy="350996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200"/>
            </a:lvl1pPr>
            <a:lvl2pPr marL="266700" indent="0">
              <a:buNone/>
              <a:defRPr sz="1050"/>
            </a:lvl2pPr>
            <a:lvl3pPr marL="542925" indent="0">
              <a:buNone/>
              <a:defRPr sz="1050"/>
            </a:lvl3pPr>
            <a:lvl4pPr marL="809625" indent="0">
              <a:buNone/>
              <a:defRPr sz="1000"/>
            </a:lvl4pPr>
            <a:lvl5pPr marL="9906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119813" y="1149350"/>
            <a:ext cx="1693862" cy="3509963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1200"/>
            </a:lvl1pPr>
            <a:lvl2pPr marL="266700" indent="0">
              <a:buNone/>
              <a:defRPr sz="1050"/>
            </a:lvl2pPr>
            <a:lvl3pPr marL="542925" indent="0">
              <a:buNone/>
              <a:defRPr sz="1050"/>
            </a:lvl3pPr>
            <a:lvl4pPr marL="809625" indent="0">
              <a:buNone/>
              <a:defRPr sz="1000"/>
            </a:lvl4pPr>
            <a:lvl5pPr marL="9906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394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odafone Rg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645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8052483" y="3903069"/>
            <a:ext cx="1752442" cy="1170364"/>
            <a:chOff x="7928658" y="3767336"/>
            <a:chExt cx="1947161" cy="1300404"/>
          </a:xfrm>
        </p:grpSpPr>
        <p:sp>
          <p:nvSpPr>
            <p:cNvPr id="6" name="Rectangle 12"/>
            <p:cNvSpPr/>
            <p:nvPr userDrawn="1"/>
          </p:nvSpPr>
          <p:spPr>
            <a:xfrm rot="18900000" flipH="1">
              <a:off x="8027848" y="3767336"/>
              <a:ext cx="1847971" cy="1300404"/>
            </a:xfrm>
            <a:custGeom>
              <a:avLst/>
              <a:gdLst>
                <a:gd name="connsiteX0" fmla="*/ 0 w 8255456"/>
                <a:gd name="connsiteY0" fmla="*/ 0 h 7120877"/>
                <a:gd name="connsiteX1" fmla="*/ 8255456 w 8255456"/>
                <a:gd name="connsiteY1" fmla="*/ 0 h 7120877"/>
                <a:gd name="connsiteX2" fmla="*/ 8255456 w 8255456"/>
                <a:gd name="connsiteY2" fmla="*/ 7120877 h 7120877"/>
                <a:gd name="connsiteX3" fmla="*/ 0 w 8255456"/>
                <a:gd name="connsiteY3" fmla="*/ 7120877 h 7120877"/>
                <a:gd name="connsiteX4" fmla="*/ 0 w 8255456"/>
                <a:gd name="connsiteY4" fmla="*/ 0 h 7120877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5456 w 8255456"/>
                <a:gd name="connsiteY2" fmla="*/ 662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580"/>
                <a:gd name="connsiteY0" fmla="*/ 662 h 7121539"/>
                <a:gd name="connsiteX1" fmla="*/ 7679621 w 8255580"/>
                <a:gd name="connsiteY1" fmla="*/ 0 h 7121539"/>
                <a:gd name="connsiteX2" fmla="*/ 8255456 w 8255580"/>
                <a:gd name="connsiteY2" fmla="*/ 662 h 7121539"/>
                <a:gd name="connsiteX3" fmla="*/ 8254780 w 8255580"/>
                <a:gd name="connsiteY3" fmla="*/ 529754 h 7121539"/>
                <a:gd name="connsiteX4" fmla="*/ 8255456 w 8255580"/>
                <a:gd name="connsiteY4" fmla="*/ 7121539 h 7121539"/>
                <a:gd name="connsiteX5" fmla="*/ 0 w 8255580"/>
                <a:gd name="connsiteY5" fmla="*/ 7121539 h 7121539"/>
                <a:gd name="connsiteX6" fmla="*/ 0 w 8255580"/>
                <a:gd name="connsiteY6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3482864 w 8255456"/>
                <a:gd name="connsiteY1" fmla="*/ 4144 h 7121539"/>
                <a:gd name="connsiteX2" fmla="*/ 7679621 w 8255456"/>
                <a:gd name="connsiteY2" fmla="*/ 0 h 7121539"/>
                <a:gd name="connsiteX3" fmla="*/ 8254780 w 8255456"/>
                <a:gd name="connsiteY3" fmla="*/ 529754 h 7121539"/>
                <a:gd name="connsiteX4" fmla="*/ 8255456 w 8255456"/>
                <a:gd name="connsiteY4" fmla="*/ 7121539 h 7121539"/>
                <a:gd name="connsiteX5" fmla="*/ 0 w 8255456"/>
                <a:gd name="connsiteY5" fmla="*/ 7121539 h 7121539"/>
                <a:gd name="connsiteX6" fmla="*/ 0 w 8255456"/>
                <a:gd name="connsiteY6" fmla="*/ 662 h 7121539"/>
                <a:gd name="connsiteX0" fmla="*/ 1779 w 8257235"/>
                <a:gd name="connsiteY0" fmla="*/ 662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7" fmla="*/ 1779 w 8257235"/>
                <a:gd name="connsiteY7" fmla="*/ 662 h 7121539"/>
                <a:gd name="connsiteX0" fmla="*/ 0 w 8257235"/>
                <a:gd name="connsiteY0" fmla="*/ 3482279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0" fmla="*/ 0 w 8257235"/>
                <a:gd name="connsiteY0" fmla="*/ 3482279 h 7129740"/>
                <a:gd name="connsiteX1" fmla="*/ 3484643 w 8257235"/>
                <a:gd name="connsiteY1" fmla="*/ 4144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0 w 8257235"/>
                <a:gd name="connsiteY0" fmla="*/ 3482279 h 7129740"/>
                <a:gd name="connsiteX1" fmla="*/ 2845602 w 8257235"/>
                <a:gd name="connsiteY1" fmla="*/ 4156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183222 w 8255458"/>
                <a:gd name="connsiteY0" fmla="*/ 2698609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83222 w 8255458"/>
                <a:gd name="connsiteY7" fmla="*/ 2698609 h 7129740"/>
                <a:gd name="connsiteX0" fmla="*/ 166405 w 8255458"/>
                <a:gd name="connsiteY0" fmla="*/ 2688520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66405 w 8255458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2968523 w 8089053"/>
                <a:gd name="connsiteY6" fmla="*/ 5902401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92356"/>
                <a:gd name="connsiteY0" fmla="*/ 2688520 h 7121539"/>
                <a:gd name="connsiteX1" fmla="*/ 2677420 w 8092356"/>
                <a:gd name="connsiteY1" fmla="*/ 4156 h 7121539"/>
                <a:gd name="connsiteX2" fmla="*/ 7513218 w 8092356"/>
                <a:gd name="connsiteY2" fmla="*/ 0 h 7121539"/>
                <a:gd name="connsiteX3" fmla="*/ 8088377 w 8092356"/>
                <a:gd name="connsiteY3" fmla="*/ 529754 h 7121539"/>
                <a:gd name="connsiteX4" fmla="*/ 8089053 w 8092356"/>
                <a:gd name="connsiteY4" fmla="*/ 7121539 h 7121539"/>
                <a:gd name="connsiteX5" fmla="*/ 6174733 w 8092356"/>
                <a:gd name="connsiteY5" fmla="*/ 4217961 h 7121539"/>
                <a:gd name="connsiteX6" fmla="*/ 3637961 w 8092356"/>
                <a:gd name="connsiteY6" fmla="*/ 6332365 h 7121539"/>
                <a:gd name="connsiteX7" fmla="*/ 0 w 8092356"/>
                <a:gd name="connsiteY7" fmla="*/ 2688520 h 7121539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6174733 w 8094998"/>
                <a:gd name="connsiteY5" fmla="*/ 4217961 h 6332365"/>
                <a:gd name="connsiteX6" fmla="*/ 3637961 w 8094998"/>
                <a:gd name="connsiteY6" fmla="*/ 6332365 h 6332365"/>
                <a:gd name="connsiteX7" fmla="*/ 0 w 8094998"/>
                <a:gd name="connsiteY7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3872205 w 8088495"/>
                <a:gd name="connsiteY1" fmla="*/ 314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94110"/>
                <a:gd name="connsiteY0" fmla="*/ 2688520 h 2688521"/>
                <a:gd name="connsiteX1" fmla="*/ 3872205 w 8094110"/>
                <a:gd name="connsiteY1" fmla="*/ 314 h 2688521"/>
                <a:gd name="connsiteX2" fmla="*/ 7513218 w 8094110"/>
                <a:gd name="connsiteY2" fmla="*/ 0 h 2688521"/>
                <a:gd name="connsiteX3" fmla="*/ 8088377 w 8094110"/>
                <a:gd name="connsiteY3" fmla="*/ 529754 h 2688521"/>
                <a:gd name="connsiteX4" fmla="*/ 8088496 w 8094110"/>
                <a:gd name="connsiteY4" fmla="*/ 1734396 h 2688521"/>
                <a:gd name="connsiteX5" fmla="*/ 6803561 w 8094110"/>
                <a:gd name="connsiteY5" fmla="*/ 2598190 h 2688521"/>
                <a:gd name="connsiteX6" fmla="*/ 0 w 8094110"/>
                <a:gd name="connsiteY6" fmla="*/ 2688520 h 2688521"/>
                <a:gd name="connsiteX0" fmla="*/ 0 w 8100072"/>
                <a:gd name="connsiteY0" fmla="*/ 2688520 h 2966994"/>
                <a:gd name="connsiteX1" fmla="*/ 3872205 w 8100072"/>
                <a:gd name="connsiteY1" fmla="*/ 314 h 2966994"/>
                <a:gd name="connsiteX2" fmla="*/ 7513218 w 8100072"/>
                <a:gd name="connsiteY2" fmla="*/ 0 h 2966994"/>
                <a:gd name="connsiteX3" fmla="*/ 8088377 w 8100072"/>
                <a:gd name="connsiteY3" fmla="*/ 529754 h 2966994"/>
                <a:gd name="connsiteX4" fmla="*/ 8088496 w 8100072"/>
                <a:gd name="connsiteY4" fmla="*/ 1734396 h 2966994"/>
                <a:gd name="connsiteX5" fmla="*/ 6849660 w 8100072"/>
                <a:gd name="connsiteY5" fmla="*/ 2966995 h 2966994"/>
                <a:gd name="connsiteX6" fmla="*/ 0 w 8100072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2981176 w 4220011"/>
                <a:gd name="connsiteY0" fmla="*/ 2966995 h 2966994"/>
                <a:gd name="connsiteX1" fmla="*/ 3721 w 4220011"/>
                <a:gd name="connsiteY1" fmla="*/ 314 h 2966994"/>
                <a:gd name="connsiteX2" fmla="*/ 3644734 w 4220011"/>
                <a:gd name="connsiteY2" fmla="*/ 0 h 2966994"/>
                <a:gd name="connsiteX3" fmla="*/ 4219893 w 4220011"/>
                <a:gd name="connsiteY3" fmla="*/ 529754 h 2966994"/>
                <a:gd name="connsiteX4" fmla="*/ 4220012 w 4220011"/>
                <a:gd name="connsiteY4" fmla="*/ 1734396 h 2966994"/>
                <a:gd name="connsiteX5" fmla="*/ 2981176 w 4220011"/>
                <a:gd name="connsiteY5" fmla="*/ 2966995 h 2966994"/>
                <a:gd name="connsiteX0" fmla="*/ 2977494 w 4216329"/>
                <a:gd name="connsiteY0" fmla="*/ 2966995 h 2966994"/>
                <a:gd name="connsiteX1" fmla="*/ 39 w 4216329"/>
                <a:gd name="connsiteY1" fmla="*/ 314 h 2966994"/>
                <a:gd name="connsiteX2" fmla="*/ 3641052 w 4216329"/>
                <a:gd name="connsiteY2" fmla="*/ 0 h 2966994"/>
                <a:gd name="connsiteX3" fmla="*/ 4216211 w 4216329"/>
                <a:gd name="connsiteY3" fmla="*/ 529754 h 2966994"/>
                <a:gd name="connsiteX4" fmla="*/ 4216330 w 4216329"/>
                <a:gd name="connsiteY4" fmla="*/ 1734396 h 2966994"/>
                <a:gd name="connsiteX5" fmla="*/ 2977494 w 4216329"/>
                <a:gd name="connsiteY5" fmla="*/ 2966995 h 2966994"/>
                <a:gd name="connsiteX0" fmla="*/ 2977485 w 4216320"/>
                <a:gd name="connsiteY0" fmla="*/ 2966995 h 2966994"/>
                <a:gd name="connsiteX1" fmla="*/ 30 w 4216320"/>
                <a:gd name="connsiteY1" fmla="*/ 314 h 2966994"/>
                <a:gd name="connsiteX2" fmla="*/ 3641043 w 4216320"/>
                <a:gd name="connsiteY2" fmla="*/ 0 h 2966994"/>
                <a:gd name="connsiteX3" fmla="*/ 4216202 w 4216320"/>
                <a:gd name="connsiteY3" fmla="*/ 529754 h 2966994"/>
                <a:gd name="connsiteX4" fmla="*/ 4216321 w 4216320"/>
                <a:gd name="connsiteY4" fmla="*/ 1734396 h 2966994"/>
                <a:gd name="connsiteX5" fmla="*/ 2977485 w 4216320"/>
                <a:gd name="connsiteY5" fmla="*/ 2966995 h 296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6320" h="2966994">
                  <a:moveTo>
                    <a:pt x="2977485" y="2966995"/>
                  </a:moveTo>
                  <a:cubicBezTo>
                    <a:pt x="2966282" y="2962270"/>
                    <a:pt x="-10679" y="-12298"/>
                    <a:pt x="30" y="314"/>
                  </a:cubicBezTo>
                  <a:lnTo>
                    <a:pt x="3641043" y="0"/>
                  </a:lnTo>
                  <a:cubicBezTo>
                    <a:pt x="3974023" y="20189"/>
                    <a:pt x="3928622" y="264877"/>
                    <a:pt x="4216202" y="529754"/>
                  </a:cubicBezTo>
                  <a:cubicBezTo>
                    <a:pt x="4216427" y="2727016"/>
                    <a:pt x="4214841" y="1705745"/>
                    <a:pt x="4216321" y="1734396"/>
                  </a:cubicBezTo>
                  <a:cubicBezTo>
                    <a:pt x="4208038" y="1738041"/>
                    <a:pt x="2981924" y="2959513"/>
                    <a:pt x="2977485" y="296699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R="0" lvl="0" indent="0" fontAlgn="base">
                <a:lnSpc>
                  <a:spcPts val="26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</a:pPr>
              <a:endParaRPr kumimoji="0" lang="en-US" sz="2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odafone Lt" pitchFamily="34" charset="0"/>
              </a:endParaRPr>
            </a:p>
          </p:txBody>
        </p:sp>
        <p:pic>
          <p:nvPicPr>
            <p:cNvPr id="7" name="Picture 6" descr="VF_4col.png"/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8658" y="4373113"/>
              <a:ext cx="487422" cy="478282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7"/>
            <a:ext cx="8218488" cy="7753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87573"/>
            <a:ext cx="8218488" cy="36717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928658" y="4746278"/>
            <a:ext cx="963822" cy="274637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687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9" r:id="rId2"/>
    <p:sldLayoutId id="2147483664" r:id="rId3"/>
    <p:sldLayoutId id="2147483650" r:id="rId4"/>
    <p:sldLayoutId id="2147483668" r:id="rId5"/>
    <p:sldLayoutId id="2147483662" r:id="rId6"/>
    <p:sldLayoutId id="2147483661" r:id="rId7"/>
    <p:sldLayoutId id="2147483659" r:id="rId8"/>
    <p:sldLayoutId id="2147483654" r:id="rId9"/>
    <p:sldLayoutId id="2147483660" r:id="rId10"/>
    <p:sldLayoutId id="2147483670" r:id="rId11"/>
    <p:sldLayoutId id="2147483649" r:id="rId12"/>
    <p:sldLayoutId id="2147483666" r:id="rId13"/>
    <p:sldLayoutId id="2147483667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1"/>
          </a:solidFill>
          <a:latin typeface="Vodafone Rg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1pPr>
      <a:lvl2pPr marL="447675" indent="-180975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2pPr>
      <a:lvl3pPr marL="714375" indent="-171450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3pPr>
      <a:lvl4pPr marL="942975" indent="-133350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indent="-123825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.png"/><Relationship Id="rId7" Type="http://schemas.openxmlformats.org/officeDocument/2006/relationships/hyperlink" Target="http://www.youtube.com/watch?v=ZcajhEYZjoc&amp;feature=plcp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10" Type="http://schemas.openxmlformats.org/officeDocument/2006/relationships/image" Target="../media/image26.jpeg"/><Relationship Id="rId4" Type="http://schemas.openxmlformats.org/officeDocument/2006/relationships/image" Target="../media/image21.jpeg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412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3 Imagen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5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2" name="11 Grupo"/>
          <p:cNvGrpSpPr/>
          <p:nvPr/>
        </p:nvGrpSpPr>
        <p:grpSpPr>
          <a:xfrm>
            <a:off x="5072678" y="916077"/>
            <a:ext cx="4071322" cy="4067817"/>
            <a:chOff x="10884627" y="1035408"/>
            <a:chExt cx="7353134" cy="7347794"/>
          </a:xfrm>
        </p:grpSpPr>
        <p:pic>
          <p:nvPicPr>
            <p:cNvPr id="5" name="4 Imagen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99" t="2781" r="23249" b="1553"/>
            <a:stretch/>
          </p:blipFill>
          <p:spPr>
            <a:xfrm>
              <a:off x="10884627" y="1035408"/>
              <a:ext cx="7353134" cy="7347794"/>
            </a:xfrm>
            <a:prstGeom prst="rect">
              <a:avLst/>
            </a:prstGeom>
          </p:spPr>
        </p:pic>
        <p:pic>
          <p:nvPicPr>
            <p:cNvPr id="6" name="5 Imagen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997" r="22254" b="10594"/>
            <a:stretch/>
          </p:blipFill>
          <p:spPr>
            <a:xfrm>
              <a:off x="10911034" y="1356330"/>
              <a:ext cx="7300320" cy="6705950"/>
            </a:xfrm>
            <a:prstGeom prst="rect">
              <a:avLst/>
            </a:prstGeom>
          </p:spPr>
        </p:pic>
      </p:grpSp>
      <p:grpSp>
        <p:nvGrpSpPr>
          <p:cNvPr id="15" name="14 Grupo"/>
          <p:cNvGrpSpPr/>
          <p:nvPr/>
        </p:nvGrpSpPr>
        <p:grpSpPr>
          <a:xfrm>
            <a:off x="287883" y="309328"/>
            <a:ext cx="4895694" cy="2046589"/>
            <a:chOff x="8285993" y="1622117"/>
            <a:chExt cx="10602200" cy="4432727"/>
          </a:xfrm>
        </p:grpSpPr>
        <p:pic>
          <p:nvPicPr>
            <p:cNvPr id="16" name="15 Imagen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260" b="19357"/>
            <a:stretch/>
          </p:blipFill>
          <p:spPr>
            <a:xfrm>
              <a:off x="8526684" y="1789144"/>
              <a:ext cx="3224612" cy="1095250"/>
            </a:xfrm>
            <a:prstGeom prst="rect">
              <a:avLst/>
            </a:prstGeom>
          </p:spPr>
        </p:pic>
        <p:pic>
          <p:nvPicPr>
            <p:cNvPr id="17" name="16 Imagen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37443" y="1622117"/>
              <a:ext cx="2006026" cy="1185379"/>
            </a:xfrm>
            <a:prstGeom prst="rect">
              <a:avLst/>
            </a:prstGeom>
          </p:spPr>
        </p:pic>
        <p:pic>
          <p:nvPicPr>
            <p:cNvPr id="18" name="17 Imagen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389" b="35610"/>
            <a:stretch/>
          </p:blipFill>
          <p:spPr>
            <a:xfrm>
              <a:off x="8285993" y="3132594"/>
              <a:ext cx="10602200" cy="2922250"/>
            </a:xfrm>
            <a:prstGeom prst="rect">
              <a:avLst/>
            </a:prstGeom>
          </p:spPr>
        </p:pic>
      </p:grpSp>
      <p:sp>
        <p:nvSpPr>
          <p:cNvPr id="25" name="9 CuadroTexto"/>
          <p:cNvSpPr txBox="1"/>
          <p:nvPr/>
        </p:nvSpPr>
        <p:spPr>
          <a:xfrm>
            <a:off x="399026" y="3347620"/>
            <a:ext cx="35376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7613"/>
            <a:r>
              <a:rPr lang="es-ES" sz="2400" dirty="0" smtClean="0">
                <a:solidFill>
                  <a:schemeClr val="bg1"/>
                </a:solidFill>
                <a:latin typeface="Telefonica Text" pitchFamily="2" charset="0"/>
              </a:rPr>
              <a:t>Casper Jorna / Vodafone</a:t>
            </a:r>
          </a:p>
        </p:txBody>
      </p:sp>
      <p:sp>
        <p:nvSpPr>
          <p:cNvPr id="26" name="10 CuadroTexto"/>
          <p:cNvSpPr txBox="1"/>
          <p:nvPr/>
        </p:nvSpPr>
        <p:spPr>
          <a:xfrm>
            <a:off x="399025" y="2562790"/>
            <a:ext cx="43399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i="1" dirty="0">
                <a:solidFill>
                  <a:schemeClr val="bg1"/>
                </a:solidFill>
                <a:latin typeface="Telefonica Text" pitchFamily="2" charset="0"/>
              </a:rPr>
              <a:t>Eco rating schemes and Consumers –</a:t>
            </a:r>
            <a:br>
              <a:rPr lang="en-GB" sz="2800" i="1" dirty="0">
                <a:solidFill>
                  <a:schemeClr val="bg1"/>
                </a:solidFill>
                <a:latin typeface="Telefonica Text" pitchFamily="2" charset="0"/>
              </a:rPr>
            </a:br>
            <a:r>
              <a:rPr lang="en-GB" sz="2800" i="1" dirty="0">
                <a:solidFill>
                  <a:schemeClr val="bg1"/>
                </a:solidFill>
                <a:latin typeface="Telefonica Text" pitchFamily="2" charset="0"/>
              </a:rPr>
              <a:t>What do they care?</a:t>
            </a:r>
            <a:endParaRPr lang="es-ES" sz="2800" i="1" dirty="0" smtClean="0">
              <a:solidFill>
                <a:schemeClr val="bg1"/>
              </a:solidFill>
              <a:latin typeface="Telefonica T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53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175846" y="2380474"/>
            <a:ext cx="5182103" cy="1393833"/>
          </a:xfrm>
        </p:spPr>
        <p:txBody>
          <a:bodyPr>
            <a:noAutofit/>
          </a:bodyPr>
          <a:lstStyle/>
          <a:p>
            <a:r>
              <a:rPr lang="en-GB" dirty="0"/>
              <a:t>Eco rating schemes </a:t>
            </a:r>
            <a:r>
              <a:rPr lang="en-GB" dirty="0" smtClean="0"/>
              <a:t>and Consumers –</a:t>
            </a:r>
            <a:br>
              <a:rPr lang="en-GB" dirty="0" smtClean="0"/>
            </a:br>
            <a:r>
              <a:rPr lang="en-GB" dirty="0" smtClean="0"/>
              <a:t>What </a:t>
            </a:r>
            <a:r>
              <a:rPr lang="en-GB" dirty="0"/>
              <a:t>do they care?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-117231" y="3800039"/>
            <a:ext cx="4041159" cy="682887"/>
          </a:xfrm>
        </p:spPr>
        <p:txBody>
          <a:bodyPr/>
          <a:lstStyle/>
          <a:p>
            <a:r>
              <a:rPr lang="en-GB" dirty="0" smtClean="0"/>
              <a:t>September 17</a:t>
            </a:r>
            <a:r>
              <a:rPr lang="en-GB" baseline="30000" dirty="0" smtClean="0"/>
              <a:t>th</a:t>
            </a:r>
            <a:r>
              <a:rPr lang="en-GB" dirty="0" smtClean="0"/>
              <a:t> , 2013 / Casper Jorna / Vodafon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857612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background….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Vodafone </a:t>
            </a:r>
            <a:r>
              <a:rPr lang="en-GB" dirty="0" smtClean="0"/>
              <a:t>launched Eco rating in 2011</a:t>
            </a:r>
          </a:p>
          <a:p>
            <a:r>
              <a:rPr lang="en-GB" dirty="0" smtClean="0"/>
              <a:t>Live in 11 countries in Europe and Oceania</a:t>
            </a:r>
          </a:p>
          <a:p>
            <a:r>
              <a:rPr lang="en-GB" dirty="0" smtClean="0"/>
              <a:t>Rated over 200 devices</a:t>
            </a:r>
          </a:p>
          <a:p>
            <a:r>
              <a:rPr lang="en-GB" dirty="0" smtClean="0"/>
              <a:t>Currently up to the third version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638" y="989086"/>
            <a:ext cx="3602036" cy="3668565"/>
          </a:xfrm>
        </p:spPr>
      </p:pic>
    </p:spTree>
    <p:extLst>
      <p:ext uri="{BB962C8B-B14F-4D97-AF65-F5344CB8AC3E}">
        <p14:creationId xmlns:p14="http://schemas.microsoft.com/office/powerpoint/2010/main" val="31015989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2400" b="0" dirty="0"/>
              <a:t>“yes I think sustainability is </a:t>
            </a:r>
            <a:r>
              <a:rPr lang="en-US" sz="2400" b="0" dirty="0" smtClean="0"/>
              <a:t>important. </a:t>
            </a:r>
            <a:r>
              <a:rPr lang="en-US" sz="2400" b="0" dirty="0"/>
              <a:t>But what </a:t>
            </a:r>
            <a:r>
              <a:rPr lang="en-US" sz="2400" b="0" dirty="0" smtClean="0"/>
              <a:t>is it about</a:t>
            </a:r>
            <a:r>
              <a:rPr lang="en-US" sz="2400" b="0" dirty="0" smtClean="0"/>
              <a:t>?”</a:t>
            </a:r>
            <a:endParaRPr lang="en-GB" sz="2400" b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>
                <a:solidFill>
                  <a:srgbClr val="00004F"/>
                </a:solidFill>
              </a:rPr>
              <a:pPr/>
              <a:t>4</a:t>
            </a:fld>
            <a:endParaRPr lang="en-GB" dirty="0">
              <a:solidFill>
                <a:srgbClr val="00004F"/>
              </a:solidFill>
            </a:endParaRPr>
          </a:p>
        </p:txBody>
      </p:sp>
      <p:sp>
        <p:nvSpPr>
          <p:cNvPr id="8" name="Content Placeholder 14"/>
          <p:cNvSpPr txBox="1">
            <a:spLocks/>
          </p:cNvSpPr>
          <p:nvPr/>
        </p:nvSpPr>
        <p:spPr>
          <a:xfrm>
            <a:off x="4704720" y="926053"/>
            <a:ext cx="1372094" cy="30767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9388" indent="-1793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E6000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400"/>
              </a:spcAft>
              <a:buNone/>
            </a:pPr>
            <a:r>
              <a:rPr lang="en-GB" b="1" dirty="0" smtClean="0">
                <a:solidFill>
                  <a:srgbClr val="E60000"/>
                </a:solidFill>
              </a:rPr>
              <a:t>Environmental</a:t>
            </a:r>
          </a:p>
          <a:p>
            <a:pPr marL="133350" indent="-133350">
              <a:spcAft>
                <a:spcPts val="400"/>
              </a:spcAft>
            </a:pPr>
            <a:r>
              <a:rPr lang="en-GB" dirty="0"/>
              <a:t>C</a:t>
            </a:r>
            <a:r>
              <a:rPr lang="en-GB" dirty="0" smtClean="0"/>
              <a:t>limate Change</a:t>
            </a:r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Pollution</a:t>
            </a:r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endParaRPr lang="en-GB" dirty="0"/>
          </a:p>
          <a:p>
            <a:pPr marL="0" indent="0">
              <a:spcAft>
                <a:spcPts val="400"/>
              </a:spcAft>
              <a:buNone/>
            </a:pPr>
            <a:endParaRPr lang="en-GB" dirty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E-Waste   </a:t>
            </a:r>
            <a:r>
              <a:rPr lang="en-GB" dirty="0" smtClean="0">
                <a:solidFill>
                  <a:schemeClr val="bg1"/>
                </a:solidFill>
              </a:rPr>
              <a:t>rrrrrrrrrrrrrr </a:t>
            </a:r>
          </a:p>
          <a:p>
            <a:pPr marL="133350" indent="-133350">
              <a:spcAft>
                <a:spcPts val="400"/>
              </a:spcAft>
            </a:pPr>
            <a:endParaRPr lang="en-GB" dirty="0"/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……</a:t>
            </a:r>
            <a:endParaRPr lang="en-GB" dirty="0"/>
          </a:p>
        </p:txBody>
      </p:sp>
      <p:sp>
        <p:nvSpPr>
          <p:cNvPr id="10" name="Content Placeholder 14"/>
          <p:cNvSpPr txBox="1">
            <a:spLocks/>
          </p:cNvSpPr>
          <p:nvPr/>
        </p:nvSpPr>
        <p:spPr>
          <a:xfrm>
            <a:off x="7906442" y="926052"/>
            <a:ext cx="1433056" cy="30767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9388" indent="-1793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E6000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1pPr>
            <a:lvl2pPr marL="357188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Vodafone Rg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E60000"/>
              </a:buClr>
              <a:buFont typeface="Calibri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400"/>
              </a:spcAft>
              <a:buNone/>
            </a:pPr>
            <a:r>
              <a:rPr lang="en-GB" b="1" dirty="0" smtClean="0">
                <a:solidFill>
                  <a:srgbClr val="E60000"/>
                </a:solidFill>
              </a:rPr>
              <a:t>Social/Ethics</a:t>
            </a:r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Child labour</a:t>
            </a:r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Worker conditions</a:t>
            </a:r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endParaRPr lang="en-GB" dirty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Conflict minerals</a:t>
            </a:r>
          </a:p>
          <a:p>
            <a:pPr marL="133350" indent="-133350">
              <a:spcAft>
                <a:spcPts val="400"/>
              </a:spcAft>
            </a:pPr>
            <a:endParaRPr lang="en-GB" dirty="0"/>
          </a:p>
          <a:p>
            <a:pPr marL="133350" indent="-133350">
              <a:spcAft>
                <a:spcPts val="400"/>
              </a:spcAft>
            </a:pPr>
            <a:endParaRPr lang="en-GB" dirty="0" smtClean="0"/>
          </a:p>
          <a:p>
            <a:pPr marL="133350" indent="-133350">
              <a:spcAft>
                <a:spcPts val="400"/>
              </a:spcAft>
            </a:pPr>
            <a:r>
              <a:rPr lang="en-GB" dirty="0" smtClean="0"/>
              <a:t>……</a:t>
            </a:r>
            <a:endParaRPr lang="en-GB" dirty="0"/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3009868" y="926052"/>
            <a:ext cx="1611549" cy="3449642"/>
            <a:chOff x="4305268" y="989110"/>
            <a:chExt cx="1713994" cy="3668934"/>
          </a:xfrm>
        </p:grpSpPr>
        <p:pic>
          <p:nvPicPr>
            <p:cNvPr id="17" name="Picture 2" descr="C:\Users\CJorna\Pictures\smoke-stack-pollution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5268" y="989110"/>
              <a:ext cx="1711840" cy="1222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5268" y="2203655"/>
              <a:ext cx="1713994" cy="12310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8" descr="http://25.media.tumblr.com/09371cca25ed0af1dfb691bc568c56ba/tumblr_mnq282Iom71qz4ui9o1_500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7426" y="3434671"/>
              <a:ext cx="1711836" cy="12233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6198734" y="926053"/>
            <a:ext cx="1609522" cy="3463068"/>
            <a:chOff x="6259694" y="980282"/>
            <a:chExt cx="1711838" cy="3683213"/>
          </a:xfrm>
        </p:grpSpPr>
        <p:pic>
          <p:nvPicPr>
            <p:cNvPr id="21" name="Picture 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694" y="980282"/>
              <a:ext cx="1711838" cy="12310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6" descr="http://processunity.com/cms/wp-content/uploads/2013/07/conflict-minerals.jp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27"/>
            <a:stretch/>
          </p:blipFill>
          <p:spPr bwMode="auto">
            <a:xfrm>
              <a:off x="6259694" y="3432477"/>
              <a:ext cx="1711837" cy="12310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8" descr="http://i.telegraph.co.uk/multimedia/archive/02337/foxconn_2337379b.jpg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040"/>
            <a:stretch/>
          </p:blipFill>
          <p:spPr bwMode="auto">
            <a:xfrm>
              <a:off x="6259696" y="2203655"/>
              <a:ext cx="1711836" cy="1229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959749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77210" y="365760"/>
            <a:ext cx="1963070" cy="2018421"/>
          </a:xfrm>
        </p:spPr>
        <p:txBody>
          <a:bodyPr>
            <a:noAutofit/>
          </a:bodyPr>
          <a:lstStyle/>
          <a:p>
            <a:r>
              <a:rPr lang="en-GB" sz="2400" b="0" dirty="0" smtClean="0"/>
              <a:t>“I want a new phone, but do I the </a:t>
            </a:r>
            <a:r>
              <a:rPr lang="en-GB" sz="2400" dirty="0" smtClean="0"/>
              <a:t>consider  Environmental &amp; Social </a:t>
            </a:r>
            <a:r>
              <a:rPr lang="en-GB" sz="2400" b="0" dirty="0" smtClean="0"/>
              <a:t>impact important</a:t>
            </a:r>
            <a:r>
              <a:rPr lang="en-GB" sz="2400" b="0" dirty="0" smtClean="0"/>
              <a:t>?” </a:t>
            </a:r>
            <a:endParaRPr lang="en-GB" sz="2400" b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>
                <a:solidFill>
                  <a:srgbClr val="00004F"/>
                </a:solidFill>
              </a:rPr>
              <a:pPr/>
              <a:t>5</a:t>
            </a:fld>
            <a:endParaRPr lang="en-GB" dirty="0">
              <a:solidFill>
                <a:srgbClr val="00004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324258" y="1679677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endParaRPr lang="en-US" sz="1600" dirty="0" smtClean="0">
              <a:latin typeface="Vodafone Rg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856898" y="719846"/>
            <a:ext cx="3849415" cy="3312895"/>
            <a:chOff x="5793791" y="1247382"/>
            <a:chExt cx="2721409" cy="2554830"/>
          </a:xfrm>
        </p:grpSpPr>
        <p:sp>
          <p:nvSpPr>
            <p:cNvPr id="16" name="Freeform 287"/>
            <p:cNvSpPr>
              <a:spLocks/>
            </p:cNvSpPr>
            <p:nvPr/>
          </p:nvSpPr>
          <p:spPr bwMode="gray">
            <a:xfrm>
              <a:off x="6097294" y="1247382"/>
              <a:ext cx="521014" cy="1050637"/>
            </a:xfrm>
            <a:custGeom>
              <a:avLst/>
              <a:gdLst>
                <a:gd name="T0" fmla="*/ 113408172 w 103"/>
                <a:gd name="T1" fmla="*/ 15120911 h 183"/>
                <a:gd name="T2" fmla="*/ 88206532 w 103"/>
                <a:gd name="T3" fmla="*/ 52922396 h 183"/>
                <a:gd name="T4" fmla="*/ 98287188 w 103"/>
                <a:gd name="T5" fmla="*/ 68043308 h 183"/>
                <a:gd name="T6" fmla="*/ 156250165 w 103"/>
                <a:gd name="T7" fmla="*/ 68043308 h 183"/>
                <a:gd name="T8" fmla="*/ 156250165 w 103"/>
                <a:gd name="T9" fmla="*/ 90725469 h 183"/>
                <a:gd name="T10" fmla="*/ 138609811 w 103"/>
                <a:gd name="T11" fmla="*/ 110886684 h 183"/>
                <a:gd name="T12" fmla="*/ 148690467 w 103"/>
                <a:gd name="T13" fmla="*/ 163809081 h 183"/>
                <a:gd name="T14" fmla="*/ 181451805 w 103"/>
                <a:gd name="T15" fmla="*/ 224292726 h 183"/>
                <a:gd name="T16" fmla="*/ 204134074 w 103"/>
                <a:gd name="T17" fmla="*/ 279736069 h 183"/>
                <a:gd name="T18" fmla="*/ 244456698 w 103"/>
                <a:gd name="T19" fmla="*/ 292337622 h 183"/>
                <a:gd name="T20" fmla="*/ 259577681 w 103"/>
                <a:gd name="T21" fmla="*/ 322579445 h 183"/>
                <a:gd name="T22" fmla="*/ 257056724 w 103"/>
                <a:gd name="T23" fmla="*/ 347780964 h 183"/>
                <a:gd name="T24" fmla="*/ 234376042 w 103"/>
                <a:gd name="T25" fmla="*/ 365421234 h 183"/>
                <a:gd name="T26" fmla="*/ 231855084 w 103"/>
                <a:gd name="T27" fmla="*/ 378022787 h 183"/>
                <a:gd name="T28" fmla="*/ 246976068 w 103"/>
                <a:gd name="T29" fmla="*/ 388103395 h 183"/>
                <a:gd name="T30" fmla="*/ 234376042 w 103"/>
                <a:gd name="T31" fmla="*/ 405743664 h 183"/>
                <a:gd name="T32" fmla="*/ 201613117 w 103"/>
                <a:gd name="T33" fmla="*/ 420864576 h 183"/>
                <a:gd name="T34" fmla="*/ 136088854 w 103"/>
                <a:gd name="T35" fmla="*/ 413304914 h 183"/>
                <a:gd name="T36" fmla="*/ 32762925 w 103"/>
                <a:gd name="T37" fmla="*/ 461187006 h 183"/>
                <a:gd name="T38" fmla="*/ 0 w 103"/>
                <a:gd name="T39" fmla="*/ 443546737 h 183"/>
                <a:gd name="T40" fmla="*/ 95766230 w 103"/>
                <a:gd name="T41" fmla="*/ 388103395 h 183"/>
                <a:gd name="T42" fmla="*/ 83166204 w 103"/>
                <a:gd name="T43" fmla="*/ 378022787 h 183"/>
                <a:gd name="T44" fmla="*/ 32762925 w 103"/>
                <a:gd name="T45" fmla="*/ 375501841 h 183"/>
                <a:gd name="T46" fmla="*/ 65524263 w 103"/>
                <a:gd name="T47" fmla="*/ 330139107 h 183"/>
                <a:gd name="T48" fmla="*/ 70564591 w 103"/>
                <a:gd name="T49" fmla="*/ 289816676 h 183"/>
                <a:gd name="T50" fmla="*/ 113408172 w 103"/>
                <a:gd name="T51" fmla="*/ 287297318 h 183"/>
                <a:gd name="T52" fmla="*/ 103327516 w 103"/>
                <a:gd name="T53" fmla="*/ 209171815 h 183"/>
                <a:gd name="T54" fmla="*/ 55443607 w 103"/>
                <a:gd name="T55" fmla="*/ 206652457 h 183"/>
                <a:gd name="T56" fmla="*/ 40322623 w 103"/>
                <a:gd name="T57" fmla="*/ 191531545 h 183"/>
                <a:gd name="T58" fmla="*/ 42843581 w 103"/>
                <a:gd name="T59" fmla="*/ 133567258 h 183"/>
                <a:gd name="T60" fmla="*/ 12601614 w 103"/>
                <a:gd name="T61" fmla="*/ 133567258 h 183"/>
                <a:gd name="T62" fmla="*/ 42843581 w 103"/>
                <a:gd name="T63" fmla="*/ 40322431 h 183"/>
                <a:gd name="T64" fmla="*/ 95766230 w 103"/>
                <a:gd name="T65" fmla="*/ 0 h 183"/>
                <a:gd name="T66" fmla="*/ 113408172 w 103"/>
                <a:gd name="T67" fmla="*/ 15120911 h 183"/>
                <a:gd name="T68" fmla="*/ 113408172 w 103"/>
                <a:gd name="T69" fmla="*/ 15120911 h 1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03" h="183">
                  <a:moveTo>
                    <a:pt x="45" y="6"/>
                  </a:moveTo>
                  <a:lnTo>
                    <a:pt x="35" y="21"/>
                  </a:lnTo>
                  <a:lnTo>
                    <a:pt x="39" y="27"/>
                  </a:lnTo>
                  <a:lnTo>
                    <a:pt x="62" y="27"/>
                  </a:lnTo>
                  <a:lnTo>
                    <a:pt x="62" y="36"/>
                  </a:lnTo>
                  <a:lnTo>
                    <a:pt x="55" y="44"/>
                  </a:lnTo>
                  <a:lnTo>
                    <a:pt x="59" y="65"/>
                  </a:lnTo>
                  <a:lnTo>
                    <a:pt x="72" y="89"/>
                  </a:lnTo>
                  <a:lnTo>
                    <a:pt x="81" y="111"/>
                  </a:lnTo>
                  <a:lnTo>
                    <a:pt x="97" y="116"/>
                  </a:lnTo>
                  <a:lnTo>
                    <a:pt x="103" y="128"/>
                  </a:lnTo>
                  <a:lnTo>
                    <a:pt x="102" y="138"/>
                  </a:lnTo>
                  <a:lnTo>
                    <a:pt x="93" y="145"/>
                  </a:lnTo>
                  <a:lnTo>
                    <a:pt x="92" y="150"/>
                  </a:lnTo>
                  <a:lnTo>
                    <a:pt x="98" y="154"/>
                  </a:lnTo>
                  <a:lnTo>
                    <a:pt x="93" y="161"/>
                  </a:lnTo>
                  <a:lnTo>
                    <a:pt x="80" y="167"/>
                  </a:lnTo>
                  <a:lnTo>
                    <a:pt x="54" y="164"/>
                  </a:lnTo>
                  <a:lnTo>
                    <a:pt x="13" y="183"/>
                  </a:lnTo>
                  <a:lnTo>
                    <a:pt x="0" y="176"/>
                  </a:lnTo>
                  <a:lnTo>
                    <a:pt x="38" y="154"/>
                  </a:lnTo>
                  <a:lnTo>
                    <a:pt x="33" y="150"/>
                  </a:lnTo>
                  <a:lnTo>
                    <a:pt x="13" y="149"/>
                  </a:lnTo>
                  <a:lnTo>
                    <a:pt x="26" y="131"/>
                  </a:lnTo>
                  <a:lnTo>
                    <a:pt x="28" y="115"/>
                  </a:lnTo>
                  <a:lnTo>
                    <a:pt x="45" y="114"/>
                  </a:lnTo>
                  <a:lnTo>
                    <a:pt x="41" y="83"/>
                  </a:lnTo>
                  <a:lnTo>
                    <a:pt x="22" y="82"/>
                  </a:lnTo>
                  <a:lnTo>
                    <a:pt x="16" y="76"/>
                  </a:lnTo>
                  <a:lnTo>
                    <a:pt x="17" y="53"/>
                  </a:lnTo>
                  <a:lnTo>
                    <a:pt x="5" y="53"/>
                  </a:lnTo>
                  <a:lnTo>
                    <a:pt x="17" y="16"/>
                  </a:lnTo>
                  <a:lnTo>
                    <a:pt x="38" y="0"/>
                  </a:lnTo>
                  <a:lnTo>
                    <a:pt x="45" y="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288"/>
            <p:cNvSpPr>
              <a:spLocks/>
            </p:cNvSpPr>
            <p:nvPr/>
          </p:nvSpPr>
          <p:spPr bwMode="gray">
            <a:xfrm>
              <a:off x="6031537" y="1660748"/>
              <a:ext cx="146691" cy="143528"/>
            </a:xfrm>
            <a:custGeom>
              <a:avLst/>
              <a:gdLst>
                <a:gd name="T0" fmla="*/ 45362320 w 29"/>
                <a:gd name="T1" fmla="*/ 0 h 25"/>
                <a:gd name="T2" fmla="*/ 0 w 29"/>
                <a:gd name="T3" fmla="*/ 2519331 h 25"/>
                <a:gd name="T4" fmla="*/ 0 w 29"/>
                <a:gd name="T5" fmla="*/ 42841323 h 25"/>
                <a:gd name="T6" fmla="*/ 27720624 w 29"/>
                <a:gd name="T7" fmla="*/ 63002319 h 25"/>
                <a:gd name="T8" fmla="*/ 60483093 w 29"/>
                <a:gd name="T9" fmla="*/ 55442739 h 25"/>
                <a:gd name="T10" fmla="*/ 73082944 w 29"/>
                <a:gd name="T11" fmla="*/ 32760825 h 25"/>
                <a:gd name="T12" fmla="*/ 45362320 w 29"/>
                <a:gd name="T13" fmla="*/ 0 h 25"/>
                <a:gd name="T14" fmla="*/ 45362320 w 29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" h="25">
                  <a:moveTo>
                    <a:pt x="18" y="0"/>
                  </a:moveTo>
                  <a:lnTo>
                    <a:pt x="0" y="1"/>
                  </a:lnTo>
                  <a:lnTo>
                    <a:pt x="0" y="17"/>
                  </a:lnTo>
                  <a:lnTo>
                    <a:pt x="11" y="25"/>
                  </a:lnTo>
                  <a:lnTo>
                    <a:pt x="24" y="22"/>
                  </a:lnTo>
                  <a:lnTo>
                    <a:pt x="29" y="13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289"/>
            <p:cNvSpPr>
              <a:spLocks/>
            </p:cNvSpPr>
            <p:nvPr/>
          </p:nvSpPr>
          <p:spPr bwMode="gray">
            <a:xfrm>
              <a:off x="5793791" y="1660748"/>
              <a:ext cx="359146" cy="419106"/>
            </a:xfrm>
            <a:custGeom>
              <a:avLst/>
              <a:gdLst>
                <a:gd name="T0" fmla="*/ 178932681 w 71"/>
                <a:gd name="T1" fmla="*/ 65523780 h 73"/>
                <a:gd name="T2" fmla="*/ 163811677 w 71"/>
                <a:gd name="T3" fmla="*/ 143647493 h 73"/>
                <a:gd name="T4" fmla="*/ 60484018 w 71"/>
                <a:gd name="T5" fmla="*/ 183969819 h 73"/>
                <a:gd name="T6" fmla="*/ 27722635 w 71"/>
                <a:gd name="T7" fmla="*/ 183969819 h 73"/>
                <a:gd name="T8" fmla="*/ 0 w 71"/>
                <a:gd name="T9" fmla="*/ 166329595 h 73"/>
                <a:gd name="T10" fmla="*/ 0 w 71"/>
                <a:gd name="T11" fmla="*/ 151208723 h 73"/>
                <a:gd name="T12" fmla="*/ 55443683 w 71"/>
                <a:gd name="T13" fmla="*/ 118446039 h 73"/>
                <a:gd name="T14" fmla="*/ 40322679 w 71"/>
                <a:gd name="T15" fmla="*/ 88204294 h 73"/>
                <a:gd name="T16" fmla="*/ 42843640 w 71"/>
                <a:gd name="T17" fmla="*/ 45362617 h 73"/>
                <a:gd name="T18" fmla="*/ 88206654 w 71"/>
                <a:gd name="T19" fmla="*/ 47881968 h 73"/>
                <a:gd name="T20" fmla="*/ 108367993 w 71"/>
                <a:gd name="T21" fmla="*/ 0 h 73"/>
                <a:gd name="T22" fmla="*/ 105847032 w 71"/>
                <a:gd name="T23" fmla="*/ 45362617 h 73"/>
                <a:gd name="T24" fmla="*/ 141129376 w 71"/>
                <a:gd name="T25" fmla="*/ 70564071 h 73"/>
                <a:gd name="T26" fmla="*/ 178932681 w 71"/>
                <a:gd name="T27" fmla="*/ 65523780 h 73"/>
                <a:gd name="T28" fmla="*/ 178932681 w 71"/>
                <a:gd name="T29" fmla="*/ 65523780 h 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71" h="73">
                  <a:moveTo>
                    <a:pt x="71" y="26"/>
                  </a:moveTo>
                  <a:lnTo>
                    <a:pt x="65" y="57"/>
                  </a:lnTo>
                  <a:lnTo>
                    <a:pt x="24" y="73"/>
                  </a:lnTo>
                  <a:lnTo>
                    <a:pt x="11" y="73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22" y="47"/>
                  </a:lnTo>
                  <a:lnTo>
                    <a:pt x="16" y="35"/>
                  </a:lnTo>
                  <a:lnTo>
                    <a:pt x="17" y="18"/>
                  </a:lnTo>
                  <a:lnTo>
                    <a:pt x="35" y="19"/>
                  </a:lnTo>
                  <a:lnTo>
                    <a:pt x="43" y="0"/>
                  </a:lnTo>
                  <a:lnTo>
                    <a:pt x="42" y="18"/>
                  </a:lnTo>
                  <a:lnTo>
                    <a:pt x="56" y="28"/>
                  </a:lnTo>
                  <a:lnTo>
                    <a:pt x="71" y="2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297"/>
            <p:cNvSpPr>
              <a:spLocks/>
            </p:cNvSpPr>
            <p:nvPr/>
          </p:nvSpPr>
          <p:spPr bwMode="gray">
            <a:xfrm>
              <a:off x="7457999" y="1689452"/>
              <a:ext cx="622179" cy="631531"/>
            </a:xfrm>
            <a:custGeom>
              <a:avLst/>
              <a:gdLst>
                <a:gd name="T0" fmla="*/ 297377676 w 123"/>
                <a:gd name="T1" fmla="*/ 161290000 h 110"/>
                <a:gd name="T2" fmla="*/ 307458275 w 123"/>
                <a:gd name="T3" fmla="*/ 181451250 h 110"/>
                <a:gd name="T4" fmla="*/ 309977631 w 123"/>
                <a:gd name="T5" fmla="*/ 204133450 h 110"/>
                <a:gd name="T6" fmla="*/ 299897032 w 123"/>
                <a:gd name="T7" fmla="*/ 224294700 h 110"/>
                <a:gd name="T8" fmla="*/ 279735834 w 123"/>
                <a:gd name="T9" fmla="*/ 267136563 h 110"/>
                <a:gd name="T10" fmla="*/ 262095579 w 123"/>
                <a:gd name="T11" fmla="*/ 272176875 h 110"/>
                <a:gd name="T12" fmla="*/ 236894081 w 123"/>
                <a:gd name="T13" fmla="*/ 262096250 h 110"/>
                <a:gd name="T14" fmla="*/ 224292538 w 123"/>
                <a:gd name="T15" fmla="*/ 262096250 h 110"/>
                <a:gd name="T16" fmla="*/ 191531385 w 123"/>
                <a:gd name="T17" fmla="*/ 277217188 h 110"/>
                <a:gd name="T18" fmla="*/ 151208988 w 123"/>
                <a:gd name="T19" fmla="*/ 267136563 h 110"/>
                <a:gd name="T20" fmla="*/ 90725393 w 123"/>
                <a:gd name="T21" fmla="*/ 219254388 h 110"/>
                <a:gd name="T22" fmla="*/ 30241798 w 123"/>
                <a:gd name="T23" fmla="*/ 186491563 h 110"/>
                <a:gd name="T24" fmla="*/ 7559656 w 123"/>
                <a:gd name="T25" fmla="*/ 151209375 h 110"/>
                <a:gd name="T26" fmla="*/ 0 w 123"/>
                <a:gd name="T27" fmla="*/ 63004700 h 110"/>
                <a:gd name="T28" fmla="*/ 50402996 w 123"/>
                <a:gd name="T29" fmla="*/ 22682200 h 110"/>
                <a:gd name="T30" fmla="*/ 108365648 w 123"/>
                <a:gd name="T31" fmla="*/ 2520950 h 110"/>
                <a:gd name="T32" fmla="*/ 133567145 w 123"/>
                <a:gd name="T33" fmla="*/ 0 h 110"/>
                <a:gd name="T34" fmla="*/ 126007490 w 123"/>
                <a:gd name="T35" fmla="*/ 20161250 h 110"/>
                <a:gd name="T36" fmla="*/ 128526846 w 123"/>
                <a:gd name="T37" fmla="*/ 25201563 h 110"/>
                <a:gd name="T38" fmla="*/ 234373137 w 123"/>
                <a:gd name="T39" fmla="*/ 25201563 h 110"/>
                <a:gd name="T40" fmla="*/ 257055279 w 123"/>
                <a:gd name="T41" fmla="*/ 25201563 h 110"/>
                <a:gd name="T42" fmla="*/ 294856732 w 123"/>
                <a:gd name="T43" fmla="*/ 83165950 h 110"/>
                <a:gd name="T44" fmla="*/ 284776133 w 123"/>
                <a:gd name="T45" fmla="*/ 105846563 h 110"/>
                <a:gd name="T46" fmla="*/ 289816433 w 123"/>
                <a:gd name="T47" fmla="*/ 136088438 h 110"/>
                <a:gd name="T48" fmla="*/ 297377676 w 123"/>
                <a:gd name="T49" fmla="*/ 161290000 h 110"/>
                <a:gd name="T50" fmla="*/ 297377676 w 123"/>
                <a:gd name="T51" fmla="*/ 161290000 h 11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3" h="110">
                  <a:moveTo>
                    <a:pt x="118" y="64"/>
                  </a:moveTo>
                  <a:lnTo>
                    <a:pt x="122" y="72"/>
                  </a:lnTo>
                  <a:lnTo>
                    <a:pt x="123" y="81"/>
                  </a:lnTo>
                  <a:lnTo>
                    <a:pt x="119" y="89"/>
                  </a:lnTo>
                  <a:lnTo>
                    <a:pt x="111" y="106"/>
                  </a:lnTo>
                  <a:lnTo>
                    <a:pt x="104" y="108"/>
                  </a:lnTo>
                  <a:lnTo>
                    <a:pt x="94" y="104"/>
                  </a:lnTo>
                  <a:lnTo>
                    <a:pt x="89" y="104"/>
                  </a:lnTo>
                  <a:lnTo>
                    <a:pt x="76" y="110"/>
                  </a:lnTo>
                  <a:lnTo>
                    <a:pt x="60" y="106"/>
                  </a:lnTo>
                  <a:lnTo>
                    <a:pt x="36" y="87"/>
                  </a:lnTo>
                  <a:lnTo>
                    <a:pt x="12" y="74"/>
                  </a:lnTo>
                  <a:lnTo>
                    <a:pt x="3" y="60"/>
                  </a:lnTo>
                  <a:lnTo>
                    <a:pt x="0" y="25"/>
                  </a:lnTo>
                  <a:lnTo>
                    <a:pt x="20" y="9"/>
                  </a:lnTo>
                  <a:lnTo>
                    <a:pt x="43" y="1"/>
                  </a:lnTo>
                  <a:lnTo>
                    <a:pt x="53" y="0"/>
                  </a:lnTo>
                  <a:lnTo>
                    <a:pt x="50" y="8"/>
                  </a:lnTo>
                  <a:lnTo>
                    <a:pt x="51" y="10"/>
                  </a:lnTo>
                  <a:lnTo>
                    <a:pt x="93" y="10"/>
                  </a:lnTo>
                  <a:lnTo>
                    <a:pt x="102" y="10"/>
                  </a:lnTo>
                  <a:lnTo>
                    <a:pt x="117" y="33"/>
                  </a:lnTo>
                  <a:lnTo>
                    <a:pt x="113" y="42"/>
                  </a:lnTo>
                  <a:lnTo>
                    <a:pt x="115" y="54"/>
                  </a:lnTo>
                  <a:lnTo>
                    <a:pt x="118" y="6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98"/>
            <p:cNvSpPr>
              <a:spLocks/>
            </p:cNvSpPr>
            <p:nvPr/>
          </p:nvSpPr>
          <p:spPr bwMode="gray">
            <a:xfrm>
              <a:off x="5905075" y="2923810"/>
              <a:ext cx="814401" cy="757838"/>
            </a:xfrm>
            <a:custGeom>
              <a:avLst/>
              <a:gdLst>
                <a:gd name="T0" fmla="*/ 236895151 w 161"/>
                <a:gd name="T1" fmla="*/ 17641888 h 132"/>
                <a:gd name="T2" fmla="*/ 70564513 w 161"/>
                <a:gd name="T3" fmla="*/ 17641888 h 132"/>
                <a:gd name="T4" fmla="*/ 37803211 w 161"/>
                <a:gd name="T5" fmla="*/ 0 h 132"/>
                <a:gd name="T6" fmla="*/ 20161289 w 161"/>
                <a:gd name="T7" fmla="*/ 5040313 h 132"/>
                <a:gd name="T8" fmla="*/ 0 w 161"/>
                <a:gd name="T9" fmla="*/ 42843450 h 132"/>
                <a:gd name="T10" fmla="*/ 7561277 w 161"/>
                <a:gd name="T11" fmla="*/ 85685313 h 132"/>
                <a:gd name="T12" fmla="*/ 73085468 w 161"/>
                <a:gd name="T13" fmla="*/ 93246575 h 132"/>
                <a:gd name="T14" fmla="*/ 80645158 w 161"/>
                <a:gd name="T15" fmla="*/ 118448138 h 132"/>
                <a:gd name="T16" fmla="*/ 52924179 w 161"/>
                <a:gd name="T17" fmla="*/ 277217188 h 132"/>
                <a:gd name="T18" fmla="*/ 52924179 w 161"/>
                <a:gd name="T19" fmla="*/ 304939700 h 132"/>
                <a:gd name="T20" fmla="*/ 98287080 w 161"/>
                <a:gd name="T21" fmla="*/ 330141263 h 132"/>
                <a:gd name="T22" fmla="*/ 151209671 w 161"/>
                <a:gd name="T23" fmla="*/ 332660625 h 132"/>
                <a:gd name="T24" fmla="*/ 257056440 w 161"/>
                <a:gd name="T25" fmla="*/ 307459063 h 132"/>
                <a:gd name="T26" fmla="*/ 307459664 w 161"/>
                <a:gd name="T27" fmla="*/ 241935000 h 132"/>
                <a:gd name="T28" fmla="*/ 309980619 w 161"/>
                <a:gd name="T29" fmla="*/ 176410938 h 132"/>
                <a:gd name="T30" fmla="*/ 398185466 w 161"/>
                <a:gd name="T31" fmla="*/ 93246575 h 132"/>
                <a:gd name="T32" fmla="*/ 405746744 w 161"/>
                <a:gd name="T33" fmla="*/ 57964388 h 132"/>
                <a:gd name="T34" fmla="*/ 320061264 w 161"/>
                <a:gd name="T35" fmla="*/ 57964388 h 132"/>
                <a:gd name="T36" fmla="*/ 236895151 w 161"/>
                <a:gd name="T37" fmla="*/ 17641888 h 132"/>
                <a:gd name="T38" fmla="*/ 236895151 w 161"/>
                <a:gd name="T39" fmla="*/ 17641888 h 1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1" h="132">
                  <a:moveTo>
                    <a:pt x="94" y="7"/>
                  </a:moveTo>
                  <a:lnTo>
                    <a:pt x="28" y="7"/>
                  </a:lnTo>
                  <a:lnTo>
                    <a:pt x="15" y="0"/>
                  </a:lnTo>
                  <a:lnTo>
                    <a:pt x="8" y="2"/>
                  </a:lnTo>
                  <a:lnTo>
                    <a:pt x="0" y="17"/>
                  </a:lnTo>
                  <a:lnTo>
                    <a:pt x="3" y="34"/>
                  </a:lnTo>
                  <a:lnTo>
                    <a:pt x="29" y="37"/>
                  </a:lnTo>
                  <a:lnTo>
                    <a:pt x="32" y="47"/>
                  </a:lnTo>
                  <a:lnTo>
                    <a:pt x="21" y="110"/>
                  </a:lnTo>
                  <a:lnTo>
                    <a:pt x="21" y="121"/>
                  </a:lnTo>
                  <a:lnTo>
                    <a:pt x="39" y="131"/>
                  </a:lnTo>
                  <a:lnTo>
                    <a:pt x="60" y="132"/>
                  </a:lnTo>
                  <a:lnTo>
                    <a:pt x="102" y="122"/>
                  </a:lnTo>
                  <a:lnTo>
                    <a:pt x="122" y="96"/>
                  </a:lnTo>
                  <a:lnTo>
                    <a:pt x="123" y="70"/>
                  </a:lnTo>
                  <a:lnTo>
                    <a:pt x="158" y="37"/>
                  </a:lnTo>
                  <a:lnTo>
                    <a:pt x="161" y="23"/>
                  </a:lnTo>
                  <a:lnTo>
                    <a:pt x="127" y="23"/>
                  </a:lnTo>
                  <a:lnTo>
                    <a:pt x="94" y="7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299"/>
            <p:cNvSpPr>
              <a:spLocks/>
            </p:cNvSpPr>
            <p:nvPr/>
          </p:nvSpPr>
          <p:spPr bwMode="gray">
            <a:xfrm>
              <a:off x="5859552" y="3153458"/>
              <a:ext cx="187158" cy="488000"/>
            </a:xfrm>
            <a:custGeom>
              <a:avLst/>
              <a:gdLst>
                <a:gd name="T0" fmla="*/ 32760959 w 37"/>
                <a:gd name="T1" fmla="*/ 0 h 85"/>
                <a:gd name="T2" fmla="*/ 22680419 w 37"/>
                <a:gd name="T3" fmla="*/ 110886464 h 85"/>
                <a:gd name="T4" fmla="*/ 0 w 37"/>
                <a:gd name="T5" fmla="*/ 133566993 h 85"/>
                <a:gd name="T6" fmla="*/ 2519341 w 37"/>
                <a:gd name="T7" fmla="*/ 146168521 h 85"/>
                <a:gd name="T8" fmla="*/ 20161078 w 37"/>
                <a:gd name="T9" fmla="*/ 173889343 h 85"/>
                <a:gd name="T10" fmla="*/ 7559611 w 37"/>
                <a:gd name="T11" fmla="*/ 206652047 h 85"/>
                <a:gd name="T12" fmla="*/ 27720689 w 37"/>
                <a:gd name="T13" fmla="*/ 214211694 h 85"/>
                <a:gd name="T14" fmla="*/ 65523505 w 37"/>
                <a:gd name="T15" fmla="*/ 206652047 h 85"/>
                <a:gd name="T16" fmla="*/ 63002576 w 37"/>
                <a:gd name="T17" fmla="*/ 173889343 h 85"/>
                <a:gd name="T18" fmla="*/ 93244194 w 37"/>
                <a:gd name="T19" fmla="*/ 22680528 h 85"/>
                <a:gd name="T20" fmla="*/ 85684583 w 37"/>
                <a:gd name="T21" fmla="*/ 2519353 h 85"/>
                <a:gd name="T22" fmla="*/ 32760959 w 37"/>
                <a:gd name="T23" fmla="*/ 0 h 85"/>
                <a:gd name="T24" fmla="*/ 32760959 w 37"/>
                <a:gd name="T25" fmla="*/ 0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7" h="85">
                  <a:moveTo>
                    <a:pt x="13" y="0"/>
                  </a:moveTo>
                  <a:lnTo>
                    <a:pt x="9" y="44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8" y="69"/>
                  </a:lnTo>
                  <a:lnTo>
                    <a:pt x="3" y="82"/>
                  </a:lnTo>
                  <a:lnTo>
                    <a:pt x="11" y="85"/>
                  </a:lnTo>
                  <a:lnTo>
                    <a:pt x="26" y="82"/>
                  </a:lnTo>
                  <a:lnTo>
                    <a:pt x="25" y="69"/>
                  </a:lnTo>
                  <a:lnTo>
                    <a:pt x="37" y="9"/>
                  </a:lnTo>
                  <a:lnTo>
                    <a:pt x="34" y="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300"/>
            <p:cNvSpPr>
              <a:spLocks/>
            </p:cNvSpPr>
            <p:nvPr/>
          </p:nvSpPr>
          <p:spPr bwMode="gray">
            <a:xfrm>
              <a:off x="6679009" y="3331434"/>
              <a:ext cx="91051" cy="57411"/>
            </a:xfrm>
            <a:custGeom>
              <a:avLst/>
              <a:gdLst>
                <a:gd name="T0" fmla="*/ 20161250 w 18"/>
                <a:gd name="T1" fmla="*/ 0 h 10"/>
                <a:gd name="T2" fmla="*/ 0 w 18"/>
                <a:gd name="T3" fmla="*/ 7561263 h 10"/>
                <a:gd name="T4" fmla="*/ 2520950 w 18"/>
                <a:gd name="T5" fmla="*/ 25201563 h 10"/>
                <a:gd name="T6" fmla="*/ 32762825 w 18"/>
                <a:gd name="T7" fmla="*/ 25201563 h 10"/>
                <a:gd name="T8" fmla="*/ 45362813 w 18"/>
                <a:gd name="T9" fmla="*/ 10080625 h 10"/>
                <a:gd name="T10" fmla="*/ 20161250 w 18"/>
                <a:gd name="T11" fmla="*/ 0 h 10"/>
                <a:gd name="T12" fmla="*/ 20161250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10">
                  <a:moveTo>
                    <a:pt x="8" y="0"/>
                  </a:moveTo>
                  <a:lnTo>
                    <a:pt x="0" y="3"/>
                  </a:lnTo>
                  <a:lnTo>
                    <a:pt x="1" y="10"/>
                  </a:lnTo>
                  <a:lnTo>
                    <a:pt x="13" y="10"/>
                  </a:lnTo>
                  <a:lnTo>
                    <a:pt x="18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301"/>
            <p:cNvSpPr>
              <a:spLocks/>
            </p:cNvSpPr>
            <p:nvPr/>
          </p:nvSpPr>
          <p:spPr bwMode="gray">
            <a:xfrm>
              <a:off x="7083679" y="3210871"/>
              <a:ext cx="111284" cy="212422"/>
            </a:xfrm>
            <a:custGeom>
              <a:avLst/>
              <a:gdLst>
                <a:gd name="T0" fmla="*/ 35282188 w 22"/>
                <a:gd name="T1" fmla="*/ 0 h 37"/>
                <a:gd name="T2" fmla="*/ 0 w 22"/>
                <a:gd name="T3" fmla="*/ 20161078 h 37"/>
                <a:gd name="T4" fmla="*/ 5040313 w 22"/>
                <a:gd name="T5" fmla="*/ 85684583 h 37"/>
                <a:gd name="T6" fmla="*/ 32762825 w 22"/>
                <a:gd name="T7" fmla="*/ 93244194 h 37"/>
                <a:gd name="T8" fmla="*/ 55443438 w 22"/>
                <a:gd name="T9" fmla="*/ 73083115 h 37"/>
                <a:gd name="T10" fmla="*/ 55443438 w 22"/>
                <a:gd name="T11" fmla="*/ 7559611 h 37"/>
                <a:gd name="T12" fmla="*/ 35282188 w 22"/>
                <a:gd name="T13" fmla="*/ 0 h 37"/>
                <a:gd name="T14" fmla="*/ 35282188 w 22"/>
                <a:gd name="T15" fmla="*/ 0 h 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2" h="37">
                  <a:moveTo>
                    <a:pt x="14" y="0"/>
                  </a:moveTo>
                  <a:lnTo>
                    <a:pt x="0" y="8"/>
                  </a:lnTo>
                  <a:lnTo>
                    <a:pt x="2" y="34"/>
                  </a:lnTo>
                  <a:lnTo>
                    <a:pt x="13" y="37"/>
                  </a:lnTo>
                  <a:lnTo>
                    <a:pt x="22" y="29"/>
                  </a:lnTo>
                  <a:lnTo>
                    <a:pt x="22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302"/>
            <p:cNvSpPr>
              <a:spLocks/>
            </p:cNvSpPr>
            <p:nvPr/>
          </p:nvSpPr>
          <p:spPr bwMode="gray">
            <a:xfrm>
              <a:off x="7108970" y="3021409"/>
              <a:ext cx="65761" cy="143532"/>
            </a:xfrm>
            <a:custGeom>
              <a:avLst/>
              <a:gdLst>
                <a:gd name="T0" fmla="*/ 27723184 w 13"/>
                <a:gd name="T1" fmla="*/ 0 h 25"/>
                <a:gd name="T2" fmla="*/ 0 w 13"/>
                <a:gd name="T3" fmla="*/ 27722862 h 25"/>
                <a:gd name="T4" fmla="*/ 0 w 13"/>
                <a:gd name="T5" fmla="*/ 50403760 h 25"/>
                <a:gd name="T6" fmla="*/ 20161738 w 13"/>
                <a:gd name="T7" fmla="*/ 63005494 h 25"/>
                <a:gd name="T8" fmla="*/ 27723184 w 13"/>
                <a:gd name="T9" fmla="*/ 60484512 h 25"/>
                <a:gd name="T10" fmla="*/ 32763619 w 13"/>
                <a:gd name="T11" fmla="*/ 27722862 h 25"/>
                <a:gd name="T12" fmla="*/ 27723184 w 13"/>
                <a:gd name="T13" fmla="*/ 0 h 25"/>
                <a:gd name="T14" fmla="*/ 27723184 w 13"/>
                <a:gd name="T15" fmla="*/ 0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25">
                  <a:moveTo>
                    <a:pt x="11" y="0"/>
                  </a:moveTo>
                  <a:lnTo>
                    <a:pt x="0" y="11"/>
                  </a:lnTo>
                  <a:lnTo>
                    <a:pt x="0" y="20"/>
                  </a:lnTo>
                  <a:lnTo>
                    <a:pt x="8" y="25"/>
                  </a:lnTo>
                  <a:lnTo>
                    <a:pt x="11" y="24"/>
                  </a:lnTo>
                  <a:lnTo>
                    <a:pt x="13" y="11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303"/>
            <p:cNvSpPr>
              <a:spLocks/>
            </p:cNvSpPr>
            <p:nvPr/>
          </p:nvSpPr>
          <p:spPr bwMode="gray">
            <a:xfrm>
              <a:off x="6223755" y="2177455"/>
              <a:ext cx="824515" cy="855436"/>
            </a:xfrm>
            <a:custGeom>
              <a:avLst/>
              <a:gdLst>
                <a:gd name="T0" fmla="*/ 236894230 w 163"/>
                <a:gd name="T1" fmla="*/ 0 h 149"/>
                <a:gd name="T2" fmla="*/ 211692716 w 163"/>
                <a:gd name="T3" fmla="*/ 5040302 h 149"/>
                <a:gd name="T4" fmla="*/ 151209083 w 163"/>
                <a:gd name="T5" fmla="*/ 68043281 h 149"/>
                <a:gd name="T6" fmla="*/ 136088175 w 163"/>
                <a:gd name="T7" fmla="*/ 68043281 h 149"/>
                <a:gd name="T8" fmla="*/ 110886661 w 163"/>
                <a:gd name="T9" fmla="*/ 52922376 h 149"/>
                <a:gd name="T10" fmla="*/ 95765752 w 163"/>
                <a:gd name="T11" fmla="*/ 55443320 h 149"/>
                <a:gd name="T12" fmla="*/ 83164202 w 163"/>
                <a:gd name="T13" fmla="*/ 95765735 h 149"/>
                <a:gd name="T14" fmla="*/ 0 w 163"/>
                <a:gd name="T15" fmla="*/ 95765735 h 149"/>
                <a:gd name="T16" fmla="*/ 0 w 163"/>
                <a:gd name="T17" fmla="*/ 115926942 h 149"/>
                <a:gd name="T18" fmla="*/ 60483633 w 163"/>
                <a:gd name="T19" fmla="*/ 153728413 h 149"/>
                <a:gd name="T20" fmla="*/ 126007569 w 163"/>
                <a:gd name="T21" fmla="*/ 206652376 h 149"/>
                <a:gd name="T22" fmla="*/ 126007569 w 163"/>
                <a:gd name="T23" fmla="*/ 272176300 h 149"/>
                <a:gd name="T24" fmla="*/ 88204505 w 163"/>
                <a:gd name="T25" fmla="*/ 335179279 h 149"/>
                <a:gd name="T26" fmla="*/ 168849349 w 163"/>
                <a:gd name="T27" fmla="*/ 370461392 h 149"/>
                <a:gd name="T28" fmla="*/ 246974835 w 163"/>
                <a:gd name="T29" fmla="*/ 375501694 h 149"/>
                <a:gd name="T30" fmla="*/ 269655404 w 163"/>
                <a:gd name="T31" fmla="*/ 347780827 h 149"/>
                <a:gd name="T32" fmla="*/ 322579377 w 163"/>
                <a:gd name="T33" fmla="*/ 347780827 h 149"/>
                <a:gd name="T34" fmla="*/ 335179340 w 163"/>
                <a:gd name="T35" fmla="*/ 362901733 h 149"/>
                <a:gd name="T36" fmla="*/ 385582367 w 163"/>
                <a:gd name="T37" fmla="*/ 357861431 h 149"/>
                <a:gd name="T38" fmla="*/ 410783881 w 163"/>
                <a:gd name="T39" fmla="*/ 325098675 h 149"/>
                <a:gd name="T40" fmla="*/ 378022707 w 163"/>
                <a:gd name="T41" fmla="*/ 284776261 h 149"/>
                <a:gd name="T42" fmla="*/ 375501762 w 163"/>
                <a:gd name="T43" fmla="*/ 259574751 h 149"/>
                <a:gd name="T44" fmla="*/ 383063010 w 163"/>
                <a:gd name="T45" fmla="*/ 234373242 h 149"/>
                <a:gd name="T46" fmla="*/ 365421156 w 163"/>
                <a:gd name="T47" fmla="*/ 209171733 h 149"/>
                <a:gd name="T48" fmla="*/ 340219643 w 163"/>
                <a:gd name="T49" fmla="*/ 219252337 h 149"/>
                <a:gd name="T50" fmla="*/ 335179340 w 163"/>
                <a:gd name="T51" fmla="*/ 196571772 h 149"/>
                <a:gd name="T52" fmla="*/ 398183918 w 163"/>
                <a:gd name="T53" fmla="*/ 131047848 h 149"/>
                <a:gd name="T54" fmla="*/ 398183918 w 163"/>
                <a:gd name="T55" fmla="*/ 88204489 h 149"/>
                <a:gd name="T56" fmla="*/ 355340551 w 163"/>
                <a:gd name="T57" fmla="*/ 65523924 h 149"/>
                <a:gd name="T58" fmla="*/ 335179340 w 163"/>
                <a:gd name="T59" fmla="*/ 63002979 h 149"/>
                <a:gd name="T60" fmla="*/ 236894230 w 163"/>
                <a:gd name="T61" fmla="*/ 0 h 149"/>
                <a:gd name="T62" fmla="*/ 236894230 w 163"/>
                <a:gd name="T63" fmla="*/ 0 h 14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3" h="149">
                  <a:moveTo>
                    <a:pt x="94" y="0"/>
                  </a:moveTo>
                  <a:lnTo>
                    <a:pt x="84" y="2"/>
                  </a:lnTo>
                  <a:lnTo>
                    <a:pt x="60" y="27"/>
                  </a:lnTo>
                  <a:lnTo>
                    <a:pt x="54" y="27"/>
                  </a:lnTo>
                  <a:lnTo>
                    <a:pt x="44" y="21"/>
                  </a:lnTo>
                  <a:lnTo>
                    <a:pt x="38" y="22"/>
                  </a:lnTo>
                  <a:lnTo>
                    <a:pt x="33" y="38"/>
                  </a:lnTo>
                  <a:lnTo>
                    <a:pt x="0" y="38"/>
                  </a:lnTo>
                  <a:lnTo>
                    <a:pt x="0" y="46"/>
                  </a:lnTo>
                  <a:lnTo>
                    <a:pt x="24" y="61"/>
                  </a:lnTo>
                  <a:lnTo>
                    <a:pt x="50" y="82"/>
                  </a:lnTo>
                  <a:lnTo>
                    <a:pt x="50" y="108"/>
                  </a:lnTo>
                  <a:lnTo>
                    <a:pt x="35" y="133"/>
                  </a:lnTo>
                  <a:lnTo>
                    <a:pt x="67" y="147"/>
                  </a:lnTo>
                  <a:lnTo>
                    <a:pt x="98" y="149"/>
                  </a:lnTo>
                  <a:lnTo>
                    <a:pt x="107" y="138"/>
                  </a:lnTo>
                  <a:lnTo>
                    <a:pt x="128" y="138"/>
                  </a:lnTo>
                  <a:lnTo>
                    <a:pt x="133" y="144"/>
                  </a:lnTo>
                  <a:lnTo>
                    <a:pt x="153" y="142"/>
                  </a:lnTo>
                  <a:lnTo>
                    <a:pt x="163" y="129"/>
                  </a:lnTo>
                  <a:lnTo>
                    <a:pt x="150" y="113"/>
                  </a:lnTo>
                  <a:lnTo>
                    <a:pt x="149" y="103"/>
                  </a:lnTo>
                  <a:lnTo>
                    <a:pt x="152" y="93"/>
                  </a:lnTo>
                  <a:lnTo>
                    <a:pt x="145" y="83"/>
                  </a:lnTo>
                  <a:lnTo>
                    <a:pt x="135" y="87"/>
                  </a:lnTo>
                  <a:lnTo>
                    <a:pt x="133" y="78"/>
                  </a:lnTo>
                  <a:lnTo>
                    <a:pt x="158" y="52"/>
                  </a:lnTo>
                  <a:lnTo>
                    <a:pt x="158" y="35"/>
                  </a:lnTo>
                  <a:lnTo>
                    <a:pt x="141" y="26"/>
                  </a:lnTo>
                  <a:lnTo>
                    <a:pt x="133" y="25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304"/>
            <p:cNvSpPr>
              <a:spLocks/>
            </p:cNvSpPr>
            <p:nvPr/>
          </p:nvSpPr>
          <p:spPr bwMode="gray">
            <a:xfrm>
              <a:off x="6744767" y="1861688"/>
              <a:ext cx="237746" cy="292803"/>
            </a:xfrm>
            <a:custGeom>
              <a:avLst/>
              <a:gdLst>
                <a:gd name="T0" fmla="*/ 105847272 w 47"/>
                <a:gd name="T1" fmla="*/ 0 h 51"/>
                <a:gd name="T2" fmla="*/ 47884083 w 47"/>
                <a:gd name="T3" fmla="*/ 30242062 h 51"/>
                <a:gd name="T4" fmla="*/ 60484155 w 47"/>
                <a:gd name="T5" fmla="*/ 40322749 h 51"/>
                <a:gd name="T6" fmla="*/ 60484155 w 47"/>
                <a:gd name="T7" fmla="*/ 68045433 h 51"/>
                <a:gd name="T8" fmla="*/ 47884083 w 47"/>
                <a:gd name="T9" fmla="*/ 65524467 h 51"/>
                <a:gd name="T10" fmla="*/ 32763045 w 47"/>
                <a:gd name="T11" fmla="*/ 45363093 h 51"/>
                <a:gd name="T12" fmla="*/ 0 w 47"/>
                <a:gd name="T13" fmla="*/ 98287494 h 51"/>
                <a:gd name="T14" fmla="*/ 52924430 w 47"/>
                <a:gd name="T15" fmla="*/ 108368182 h 51"/>
                <a:gd name="T16" fmla="*/ 70564848 w 47"/>
                <a:gd name="T17" fmla="*/ 128529556 h 51"/>
                <a:gd name="T18" fmla="*/ 83166507 w 47"/>
                <a:gd name="T19" fmla="*/ 128529556 h 51"/>
                <a:gd name="T20" fmla="*/ 88206854 w 47"/>
                <a:gd name="T21" fmla="*/ 85685842 h 51"/>
                <a:gd name="T22" fmla="*/ 118448931 w 47"/>
                <a:gd name="T23" fmla="*/ 68045433 h 51"/>
                <a:gd name="T24" fmla="*/ 105847272 w 47"/>
                <a:gd name="T25" fmla="*/ 0 h 51"/>
                <a:gd name="T26" fmla="*/ 105847272 w 47"/>
                <a:gd name="T27" fmla="*/ 0 h 5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7" h="51">
                  <a:moveTo>
                    <a:pt x="42" y="0"/>
                  </a:moveTo>
                  <a:lnTo>
                    <a:pt x="19" y="12"/>
                  </a:lnTo>
                  <a:lnTo>
                    <a:pt x="24" y="16"/>
                  </a:lnTo>
                  <a:lnTo>
                    <a:pt x="24" y="27"/>
                  </a:lnTo>
                  <a:lnTo>
                    <a:pt x="19" y="26"/>
                  </a:lnTo>
                  <a:lnTo>
                    <a:pt x="13" y="18"/>
                  </a:lnTo>
                  <a:lnTo>
                    <a:pt x="0" y="39"/>
                  </a:lnTo>
                  <a:lnTo>
                    <a:pt x="21" y="43"/>
                  </a:lnTo>
                  <a:lnTo>
                    <a:pt x="28" y="51"/>
                  </a:lnTo>
                  <a:lnTo>
                    <a:pt x="33" y="51"/>
                  </a:lnTo>
                  <a:lnTo>
                    <a:pt x="35" y="34"/>
                  </a:lnTo>
                  <a:lnTo>
                    <a:pt x="47" y="27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305"/>
            <p:cNvSpPr>
              <a:spLocks/>
            </p:cNvSpPr>
            <p:nvPr/>
          </p:nvSpPr>
          <p:spPr bwMode="gray">
            <a:xfrm>
              <a:off x="6719476" y="2108561"/>
              <a:ext cx="232686" cy="195201"/>
            </a:xfrm>
            <a:custGeom>
              <a:avLst/>
              <a:gdLst>
                <a:gd name="T0" fmla="*/ 7561263 w 46"/>
                <a:gd name="T1" fmla="*/ 0 h 34"/>
                <a:gd name="T2" fmla="*/ 0 w 46"/>
                <a:gd name="T3" fmla="*/ 20161250 h 34"/>
                <a:gd name="T4" fmla="*/ 88206263 w 46"/>
                <a:gd name="T5" fmla="*/ 78125638 h 34"/>
                <a:gd name="T6" fmla="*/ 115927188 w 46"/>
                <a:gd name="T7" fmla="*/ 85685313 h 34"/>
                <a:gd name="T8" fmla="*/ 115927188 w 46"/>
                <a:gd name="T9" fmla="*/ 60483750 h 34"/>
                <a:gd name="T10" fmla="*/ 95765938 w 46"/>
                <a:gd name="T11" fmla="*/ 32762825 h 34"/>
                <a:gd name="T12" fmla="*/ 78125638 w 46"/>
                <a:gd name="T13" fmla="*/ 32762825 h 34"/>
                <a:gd name="T14" fmla="*/ 60483750 w 46"/>
                <a:gd name="T15" fmla="*/ 10080625 h 34"/>
                <a:gd name="T16" fmla="*/ 7561263 w 46"/>
                <a:gd name="T17" fmla="*/ 0 h 34"/>
                <a:gd name="T18" fmla="*/ 7561263 w 46"/>
                <a:gd name="T19" fmla="*/ 0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" h="34">
                  <a:moveTo>
                    <a:pt x="3" y="0"/>
                  </a:moveTo>
                  <a:lnTo>
                    <a:pt x="0" y="8"/>
                  </a:lnTo>
                  <a:lnTo>
                    <a:pt x="35" y="31"/>
                  </a:lnTo>
                  <a:lnTo>
                    <a:pt x="46" y="34"/>
                  </a:lnTo>
                  <a:lnTo>
                    <a:pt x="46" y="24"/>
                  </a:lnTo>
                  <a:lnTo>
                    <a:pt x="38" y="13"/>
                  </a:lnTo>
                  <a:lnTo>
                    <a:pt x="31" y="13"/>
                  </a:lnTo>
                  <a:lnTo>
                    <a:pt x="24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306"/>
            <p:cNvSpPr>
              <a:spLocks/>
            </p:cNvSpPr>
            <p:nvPr/>
          </p:nvSpPr>
          <p:spPr bwMode="gray">
            <a:xfrm>
              <a:off x="6931928" y="1741125"/>
              <a:ext cx="571595" cy="803768"/>
            </a:xfrm>
            <a:custGeom>
              <a:avLst/>
              <a:gdLst>
                <a:gd name="T0" fmla="*/ 25201492 w 113"/>
                <a:gd name="T1" fmla="*/ 45362813 h 140"/>
                <a:gd name="T2" fmla="*/ 75604477 w 113"/>
                <a:gd name="T3" fmla="*/ 40322500 h 140"/>
                <a:gd name="T4" fmla="*/ 75604477 w 113"/>
                <a:gd name="T5" fmla="*/ 7561263 h 140"/>
                <a:gd name="T6" fmla="*/ 115926864 w 113"/>
                <a:gd name="T7" fmla="*/ 0 h 140"/>
                <a:gd name="T8" fmla="*/ 133567115 w 113"/>
                <a:gd name="T9" fmla="*/ 22682200 h 140"/>
                <a:gd name="T10" fmla="*/ 158768607 w 113"/>
                <a:gd name="T11" fmla="*/ 22682200 h 140"/>
                <a:gd name="T12" fmla="*/ 194050697 w 113"/>
                <a:gd name="T13" fmla="*/ 10080625 h 140"/>
                <a:gd name="T14" fmla="*/ 226813430 w 113"/>
                <a:gd name="T15" fmla="*/ 17641888 h 140"/>
                <a:gd name="T16" fmla="*/ 252014923 w 113"/>
                <a:gd name="T17" fmla="*/ 42843450 h 140"/>
                <a:gd name="T18" fmla="*/ 257055221 w 113"/>
                <a:gd name="T19" fmla="*/ 131048125 h 140"/>
                <a:gd name="T20" fmla="*/ 284776069 w 113"/>
                <a:gd name="T21" fmla="*/ 171370625 h 140"/>
                <a:gd name="T22" fmla="*/ 249493980 w 113"/>
                <a:gd name="T23" fmla="*/ 173891575 h 140"/>
                <a:gd name="T24" fmla="*/ 186491043 w 113"/>
                <a:gd name="T25" fmla="*/ 214214075 h 140"/>
                <a:gd name="T26" fmla="*/ 194050697 w 113"/>
                <a:gd name="T27" fmla="*/ 226814063 h 140"/>
                <a:gd name="T28" fmla="*/ 246974624 w 113"/>
                <a:gd name="T29" fmla="*/ 277217188 h 140"/>
                <a:gd name="T30" fmla="*/ 241934326 w 113"/>
                <a:gd name="T31" fmla="*/ 302418750 h 140"/>
                <a:gd name="T32" fmla="*/ 194050697 w 113"/>
                <a:gd name="T33" fmla="*/ 330141263 h 140"/>
                <a:gd name="T34" fmla="*/ 143647712 w 113"/>
                <a:gd name="T35" fmla="*/ 330141263 h 140"/>
                <a:gd name="T36" fmla="*/ 133567115 w 113"/>
                <a:gd name="T37" fmla="*/ 352821875 h 140"/>
                <a:gd name="T38" fmla="*/ 108365623 w 113"/>
                <a:gd name="T39" fmla="*/ 352821875 h 140"/>
                <a:gd name="T40" fmla="*/ 98285026 w 113"/>
                <a:gd name="T41" fmla="*/ 330141263 h 140"/>
                <a:gd name="T42" fmla="*/ 55443283 w 113"/>
                <a:gd name="T43" fmla="*/ 320060638 h 140"/>
                <a:gd name="T44" fmla="*/ 55443283 w 113"/>
                <a:gd name="T45" fmla="*/ 277217188 h 140"/>
                <a:gd name="T46" fmla="*/ 20161194 w 113"/>
                <a:gd name="T47" fmla="*/ 249496263 h 140"/>
                <a:gd name="T48" fmla="*/ 22680549 w 113"/>
                <a:gd name="T49" fmla="*/ 221773750 h 140"/>
                <a:gd name="T50" fmla="*/ 0 w 113"/>
                <a:gd name="T51" fmla="*/ 189012513 h 140"/>
                <a:gd name="T52" fmla="*/ 5040298 w 113"/>
                <a:gd name="T53" fmla="*/ 146169063 h 140"/>
                <a:gd name="T54" fmla="*/ 37801445 w 113"/>
                <a:gd name="T55" fmla="*/ 128528763 h 140"/>
                <a:gd name="T56" fmla="*/ 25201492 w 113"/>
                <a:gd name="T57" fmla="*/ 45362813 h 140"/>
                <a:gd name="T58" fmla="*/ 25201492 w 113"/>
                <a:gd name="T59" fmla="*/ 45362813 h 1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3" h="140">
                  <a:moveTo>
                    <a:pt x="10" y="18"/>
                  </a:moveTo>
                  <a:lnTo>
                    <a:pt x="30" y="16"/>
                  </a:lnTo>
                  <a:lnTo>
                    <a:pt x="30" y="3"/>
                  </a:lnTo>
                  <a:lnTo>
                    <a:pt x="46" y="0"/>
                  </a:lnTo>
                  <a:lnTo>
                    <a:pt x="53" y="9"/>
                  </a:lnTo>
                  <a:lnTo>
                    <a:pt x="63" y="9"/>
                  </a:lnTo>
                  <a:lnTo>
                    <a:pt x="77" y="4"/>
                  </a:lnTo>
                  <a:lnTo>
                    <a:pt x="90" y="7"/>
                  </a:lnTo>
                  <a:lnTo>
                    <a:pt x="100" y="17"/>
                  </a:lnTo>
                  <a:lnTo>
                    <a:pt x="102" y="52"/>
                  </a:lnTo>
                  <a:lnTo>
                    <a:pt x="113" y="68"/>
                  </a:lnTo>
                  <a:lnTo>
                    <a:pt x="99" y="69"/>
                  </a:lnTo>
                  <a:lnTo>
                    <a:pt x="74" y="85"/>
                  </a:lnTo>
                  <a:lnTo>
                    <a:pt x="77" y="90"/>
                  </a:lnTo>
                  <a:lnTo>
                    <a:pt x="98" y="110"/>
                  </a:lnTo>
                  <a:lnTo>
                    <a:pt x="96" y="120"/>
                  </a:lnTo>
                  <a:lnTo>
                    <a:pt x="77" y="131"/>
                  </a:lnTo>
                  <a:lnTo>
                    <a:pt x="57" y="131"/>
                  </a:lnTo>
                  <a:lnTo>
                    <a:pt x="53" y="140"/>
                  </a:lnTo>
                  <a:lnTo>
                    <a:pt x="43" y="140"/>
                  </a:lnTo>
                  <a:lnTo>
                    <a:pt x="39" y="131"/>
                  </a:lnTo>
                  <a:lnTo>
                    <a:pt x="22" y="127"/>
                  </a:lnTo>
                  <a:lnTo>
                    <a:pt x="22" y="110"/>
                  </a:lnTo>
                  <a:lnTo>
                    <a:pt x="8" y="99"/>
                  </a:lnTo>
                  <a:lnTo>
                    <a:pt x="9" y="88"/>
                  </a:lnTo>
                  <a:lnTo>
                    <a:pt x="0" y="75"/>
                  </a:lnTo>
                  <a:lnTo>
                    <a:pt x="2" y="58"/>
                  </a:lnTo>
                  <a:lnTo>
                    <a:pt x="15" y="51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307"/>
            <p:cNvSpPr>
              <a:spLocks/>
            </p:cNvSpPr>
            <p:nvPr/>
          </p:nvSpPr>
          <p:spPr bwMode="gray">
            <a:xfrm>
              <a:off x="7022979" y="1356462"/>
              <a:ext cx="171985" cy="378919"/>
            </a:xfrm>
            <a:custGeom>
              <a:avLst/>
              <a:gdLst>
                <a:gd name="T0" fmla="*/ 55443438 w 34"/>
                <a:gd name="T1" fmla="*/ 0 h 66"/>
                <a:gd name="T2" fmla="*/ 0 w 34"/>
                <a:gd name="T3" fmla="*/ 60483750 h 66"/>
                <a:gd name="T4" fmla="*/ 0 w 34"/>
                <a:gd name="T5" fmla="*/ 100806250 h 66"/>
                <a:gd name="T6" fmla="*/ 22682200 w 34"/>
                <a:gd name="T7" fmla="*/ 166330313 h 66"/>
                <a:gd name="T8" fmla="*/ 63004700 w 34"/>
                <a:gd name="T9" fmla="*/ 158770638 h 66"/>
                <a:gd name="T10" fmla="*/ 60483750 w 34"/>
                <a:gd name="T11" fmla="*/ 105846563 h 66"/>
                <a:gd name="T12" fmla="*/ 85685313 w 34"/>
                <a:gd name="T13" fmla="*/ 73085325 h 66"/>
                <a:gd name="T14" fmla="*/ 85685313 w 34"/>
                <a:gd name="T15" fmla="*/ 50403125 h 66"/>
                <a:gd name="T16" fmla="*/ 65524063 w 34"/>
                <a:gd name="T17" fmla="*/ 0 h 66"/>
                <a:gd name="T18" fmla="*/ 55443438 w 34"/>
                <a:gd name="T19" fmla="*/ 0 h 66"/>
                <a:gd name="T20" fmla="*/ 55443438 w 34"/>
                <a:gd name="T21" fmla="*/ 0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" h="66">
                  <a:moveTo>
                    <a:pt x="22" y="0"/>
                  </a:moveTo>
                  <a:lnTo>
                    <a:pt x="0" y="24"/>
                  </a:lnTo>
                  <a:lnTo>
                    <a:pt x="0" y="40"/>
                  </a:lnTo>
                  <a:lnTo>
                    <a:pt x="9" y="66"/>
                  </a:lnTo>
                  <a:lnTo>
                    <a:pt x="25" y="63"/>
                  </a:lnTo>
                  <a:lnTo>
                    <a:pt x="24" y="42"/>
                  </a:lnTo>
                  <a:lnTo>
                    <a:pt x="34" y="29"/>
                  </a:lnTo>
                  <a:lnTo>
                    <a:pt x="34" y="20"/>
                  </a:lnTo>
                  <a:lnTo>
                    <a:pt x="26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8"/>
            <p:cNvSpPr>
              <a:spLocks/>
            </p:cNvSpPr>
            <p:nvPr/>
          </p:nvSpPr>
          <p:spPr bwMode="gray">
            <a:xfrm>
              <a:off x="7200021" y="1597593"/>
              <a:ext cx="85994" cy="91860"/>
            </a:xfrm>
            <a:custGeom>
              <a:avLst/>
              <a:gdLst>
                <a:gd name="T0" fmla="*/ 30242435 w 17"/>
                <a:gd name="T1" fmla="*/ 0 h 16"/>
                <a:gd name="T2" fmla="*/ 17642214 w 17"/>
                <a:gd name="T3" fmla="*/ 0 h 16"/>
                <a:gd name="T4" fmla="*/ 0 w 17"/>
                <a:gd name="T5" fmla="*/ 17641888 h 16"/>
                <a:gd name="T6" fmla="*/ 5040406 w 17"/>
                <a:gd name="T7" fmla="*/ 40322500 h 16"/>
                <a:gd name="T8" fmla="*/ 40323247 w 17"/>
                <a:gd name="T9" fmla="*/ 40322500 h 16"/>
                <a:gd name="T10" fmla="*/ 42844244 w 17"/>
                <a:gd name="T11" fmla="*/ 15120938 h 16"/>
                <a:gd name="T12" fmla="*/ 30242435 w 17"/>
                <a:gd name="T13" fmla="*/ 0 h 16"/>
                <a:gd name="T14" fmla="*/ 30242435 w 17"/>
                <a:gd name="T15" fmla="*/ 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7" h="16">
                  <a:moveTo>
                    <a:pt x="12" y="0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2" y="16"/>
                  </a:lnTo>
                  <a:lnTo>
                    <a:pt x="16" y="16"/>
                  </a:lnTo>
                  <a:lnTo>
                    <a:pt x="17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0"/>
            <p:cNvSpPr>
              <a:spLocks/>
            </p:cNvSpPr>
            <p:nvPr/>
          </p:nvSpPr>
          <p:spPr bwMode="gray">
            <a:xfrm>
              <a:off x="6916751" y="2493219"/>
              <a:ext cx="298446" cy="223908"/>
            </a:xfrm>
            <a:custGeom>
              <a:avLst/>
              <a:gdLst>
                <a:gd name="T0" fmla="*/ 55443733 w 59"/>
                <a:gd name="T1" fmla="*/ 0 h 39"/>
                <a:gd name="T2" fmla="*/ 0 w 59"/>
                <a:gd name="T3" fmla="*/ 63005209 h 39"/>
                <a:gd name="T4" fmla="*/ 0 w 59"/>
                <a:gd name="T5" fmla="*/ 68045562 h 39"/>
                <a:gd name="T6" fmla="*/ 27722660 w 59"/>
                <a:gd name="T7" fmla="*/ 63005209 h 39"/>
                <a:gd name="T8" fmla="*/ 45363055 w 59"/>
                <a:gd name="T9" fmla="*/ 90726358 h 39"/>
                <a:gd name="T10" fmla="*/ 83166394 w 59"/>
                <a:gd name="T11" fmla="*/ 78126268 h 39"/>
                <a:gd name="T12" fmla="*/ 105847128 w 59"/>
                <a:gd name="T13" fmla="*/ 98287681 h 39"/>
                <a:gd name="T14" fmla="*/ 115927806 w 59"/>
                <a:gd name="T15" fmla="*/ 90726358 h 39"/>
                <a:gd name="T16" fmla="*/ 148690806 w 59"/>
                <a:gd name="T17" fmla="*/ 42843796 h 39"/>
                <a:gd name="T18" fmla="*/ 138610127 w 59"/>
                <a:gd name="T19" fmla="*/ 35282472 h 39"/>
                <a:gd name="T20" fmla="*/ 108368091 w 59"/>
                <a:gd name="T21" fmla="*/ 35282472 h 39"/>
                <a:gd name="T22" fmla="*/ 95766449 w 59"/>
                <a:gd name="T23" fmla="*/ 5040353 h 39"/>
                <a:gd name="T24" fmla="*/ 55443733 w 59"/>
                <a:gd name="T25" fmla="*/ 0 h 39"/>
                <a:gd name="T26" fmla="*/ 55443733 w 59"/>
                <a:gd name="T27" fmla="*/ 0 h 3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9" h="39">
                  <a:moveTo>
                    <a:pt x="22" y="0"/>
                  </a:moveTo>
                  <a:lnTo>
                    <a:pt x="0" y="25"/>
                  </a:lnTo>
                  <a:lnTo>
                    <a:pt x="0" y="27"/>
                  </a:lnTo>
                  <a:lnTo>
                    <a:pt x="11" y="25"/>
                  </a:lnTo>
                  <a:lnTo>
                    <a:pt x="18" y="36"/>
                  </a:lnTo>
                  <a:lnTo>
                    <a:pt x="33" y="31"/>
                  </a:lnTo>
                  <a:lnTo>
                    <a:pt x="42" y="39"/>
                  </a:lnTo>
                  <a:lnTo>
                    <a:pt x="46" y="36"/>
                  </a:lnTo>
                  <a:lnTo>
                    <a:pt x="59" y="17"/>
                  </a:lnTo>
                  <a:lnTo>
                    <a:pt x="55" y="14"/>
                  </a:lnTo>
                  <a:lnTo>
                    <a:pt x="43" y="14"/>
                  </a:lnTo>
                  <a:lnTo>
                    <a:pt x="38" y="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11"/>
            <p:cNvSpPr>
              <a:spLocks/>
            </p:cNvSpPr>
            <p:nvPr/>
          </p:nvSpPr>
          <p:spPr bwMode="gray">
            <a:xfrm>
              <a:off x="7336599" y="2148747"/>
              <a:ext cx="399610" cy="258355"/>
            </a:xfrm>
            <a:custGeom>
              <a:avLst/>
              <a:gdLst>
                <a:gd name="T0" fmla="*/ 55443216 w 79"/>
                <a:gd name="T1" fmla="*/ 90726260 h 45"/>
                <a:gd name="T2" fmla="*/ 90725263 w 79"/>
                <a:gd name="T3" fmla="*/ 90726260 h 45"/>
                <a:gd name="T4" fmla="*/ 110886433 w 79"/>
                <a:gd name="T5" fmla="*/ 90726260 h 45"/>
                <a:gd name="T6" fmla="*/ 143647540 w 79"/>
                <a:gd name="T7" fmla="*/ 113408619 h 45"/>
                <a:gd name="T8" fmla="*/ 199090756 w 79"/>
                <a:gd name="T9" fmla="*/ 65524521 h 45"/>
                <a:gd name="T10" fmla="*/ 143647540 w 79"/>
                <a:gd name="T11" fmla="*/ 25201739 h 45"/>
                <a:gd name="T12" fmla="*/ 88204323 w 79"/>
                <a:gd name="T13" fmla="*/ 0 h 45"/>
                <a:gd name="T14" fmla="*/ 50402924 w 79"/>
                <a:gd name="T15" fmla="*/ 5040348 h 45"/>
                <a:gd name="T16" fmla="*/ 0 w 79"/>
                <a:gd name="T17" fmla="*/ 37803402 h 45"/>
                <a:gd name="T18" fmla="*/ 55443216 w 79"/>
                <a:gd name="T19" fmla="*/ 90726260 h 45"/>
                <a:gd name="T20" fmla="*/ 55443216 w 79"/>
                <a:gd name="T21" fmla="*/ 9072626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9" h="45">
                  <a:moveTo>
                    <a:pt x="22" y="36"/>
                  </a:moveTo>
                  <a:lnTo>
                    <a:pt x="36" y="36"/>
                  </a:lnTo>
                  <a:lnTo>
                    <a:pt x="44" y="36"/>
                  </a:lnTo>
                  <a:lnTo>
                    <a:pt x="57" y="45"/>
                  </a:lnTo>
                  <a:lnTo>
                    <a:pt x="79" y="26"/>
                  </a:lnTo>
                  <a:lnTo>
                    <a:pt x="57" y="10"/>
                  </a:lnTo>
                  <a:lnTo>
                    <a:pt x="35" y="0"/>
                  </a:lnTo>
                  <a:lnTo>
                    <a:pt x="20" y="2"/>
                  </a:lnTo>
                  <a:lnTo>
                    <a:pt x="0" y="15"/>
                  </a:lnTo>
                  <a:lnTo>
                    <a:pt x="22" y="3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12"/>
            <p:cNvSpPr>
              <a:spLocks/>
            </p:cNvSpPr>
            <p:nvPr/>
          </p:nvSpPr>
          <p:spPr bwMode="gray">
            <a:xfrm>
              <a:off x="7640101" y="2309501"/>
              <a:ext cx="369260" cy="166497"/>
            </a:xfrm>
            <a:custGeom>
              <a:avLst/>
              <a:gdLst>
                <a:gd name="T0" fmla="*/ 0 w 73"/>
                <a:gd name="T1" fmla="*/ 50403672 h 29"/>
                <a:gd name="T2" fmla="*/ 10080582 w 73"/>
                <a:gd name="T3" fmla="*/ 60484407 h 29"/>
                <a:gd name="T4" fmla="*/ 10080582 w 73"/>
                <a:gd name="T5" fmla="*/ 73086119 h 29"/>
                <a:gd name="T6" fmla="*/ 110886397 w 73"/>
                <a:gd name="T7" fmla="*/ 70565141 h 29"/>
                <a:gd name="T8" fmla="*/ 183969819 w 73"/>
                <a:gd name="T9" fmla="*/ 40322938 h 29"/>
                <a:gd name="T10" fmla="*/ 183969819 w 73"/>
                <a:gd name="T11" fmla="*/ 7561345 h 29"/>
                <a:gd name="T12" fmla="*/ 171369886 w 73"/>
                <a:gd name="T13" fmla="*/ 15121102 h 29"/>
                <a:gd name="T14" fmla="*/ 151208723 w 73"/>
                <a:gd name="T15" fmla="*/ 0 h 29"/>
                <a:gd name="T16" fmla="*/ 136087850 w 73"/>
                <a:gd name="T17" fmla="*/ 0 h 29"/>
                <a:gd name="T18" fmla="*/ 103325167 w 73"/>
                <a:gd name="T19" fmla="*/ 15121102 h 29"/>
                <a:gd name="T20" fmla="*/ 57962550 w 73"/>
                <a:gd name="T21" fmla="*/ 5040367 h 29"/>
                <a:gd name="T22" fmla="*/ 0 w 73"/>
                <a:gd name="T23" fmla="*/ 50403672 h 29"/>
                <a:gd name="T24" fmla="*/ 0 w 73"/>
                <a:gd name="T25" fmla="*/ 50403672 h 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3" h="29">
                  <a:moveTo>
                    <a:pt x="0" y="20"/>
                  </a:moveTo>
                  <a:lnTo>
                    <a:pt x="4" y="24"/>
                  </a:lnTo>
                  <a:lnTo>
                    <a:pt x="4" y="29"/>
                  </a:lnTo>
                  <a:lnTo>
                    <a:pt x="44" y="28"/>
                  </a:lnTo>
                  <a:lnTo>
                    <a:pt x="73" y="16"/>
                  </a:lnTo>
                  <a:lnTo>
                    <a:pt x="73" y="3"/>
                  </a:lnTo>
                  <a:lnTo>
                    <a:pt x="68" y="6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1" y="6"/>
                  </a:lnTo>
                  <a:lnTo>
                    <a:pt x="23" y="2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13"/>
            <p:cNvSpPr>
              <a:spLocks/>
            </p:cNvSpPr>
            <p:nvPr/>
          </p:nvSpPr>
          <p:spPr bwMode="gray">
            <a:xfrm>
              <a:off x="7220255" y="2378395"/>
              <a:ext cx="419847" cy="246873"/>
            </a:xfrm>
            <a:custGeom>
              <a:avLst/>
              <a:gdLst>
                <a:gd name="T0" fmla="*/ 7561291 w 83"/>
                <a:gd name="T1" fmla="*/ 60484193 h 43"/>
                <a:gd name="T2" fmla="*/ 0 w 83"/>
                <a:gd name="T3" fmla="*/ 78126210 h 43"/>
                <a:gd name="T4" fmla="*/ 7561291 w 83"/>
                <a:gd name="T5" fmla="*/ 93247258 h 43"/>
                <a:gd name="T6" fmla="*/ 37803281 w 83"/>
                <a:gd name="T7" fmla="*/ 85685940 h 43"/>
                <a:gd name="T8" fmla="*/ 63004939 w 83"/>
                <a:gd name="T9" fmla="*/ 85685940 h 43"/>
                <a:gd name="T10" fmla="*/ 93246929 w 83"/>
                <a:gd name="T11" fmla="*/ 108368306 h 43"/>
                <a:gd name="T12" fmla="*/ 151209949 w 83"/>
                <a:gd name="T13" fmla="*/ 98287607 h 43"/>
                <a:gd name="T14" fmla="*/ 199093893 w 83"/>
                <a:gd name="T15" fmla="*/ 73085860 h 43"/>
                <a:gd name="T16" fmla="*/ 209174556 w 83"/>
                <a:gd name="T17" fmla="*/ 52924463 h 43"/>
                <a:gd name="T18" fmla="*/ 204134225 w 83"/>
                <a:gd name="T19" fmla="*/ 30242097 h 43"/>
                <a:gd name="T20" fmla="*/ 166330944 w 83"/>
                <a:gd name="T21" fmla="*/ 0 h 43"/>
                <a:gd name="T22" fmla="*/ 113408255 w 83"/>
                <a:gd name="T23" fmla="*/ 0 h 43"/>
                <a:gd name="T24" fmla="*/ 108367924 w 83"/>
                <a:gd name="T25" fmla="*/ 32763065 h 43"/>
                <a:gd name="T26" fmla="*/ 52924276 w 83"/>
                <a:gd name="T27" fmla="*/ 60484193 h 43"/>
                <a:gd name="T28" fmla="*/ 7561291 w 83"/>
                <a:gd name="T29" fmla="*/ 60484193 h 43"/>
                <a:gd name="T30" fmla="*/ 7561291 w 83"/>
                <a:gd name="T31" fmla="*/ 60484193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3" h="43">
                  <a:moveTo>
                    <a:pt x="3" y="24"/>
                  </a:moveTo>
                  <a:lnTo>
                    <a:pt x="0" y="31"/>
                  </a:lnTo>
                  <a:lnTo>
                    <a:pt x="3" y="37"/>
                  </a:lnTo>
                  <a:lnTo>
                    <a:pt x="15" y="34"/>
                  </a:lnTo>
                  <a:lnTo>
                    <a:pt x="25" y="34"/>
                  </a:lnTo>
                  <a:lnTo>
                    <a:pt x="37" y="43"/>
                  </a:lnTo>
                  <a:lnTo>
                    <a:pt x="60" y="39"/>
                  </a:lnTo>
                  <a:lnTo>
                    <a:pt x="79" y="29"/>
                  </a:lnTo>
                  <a:lnTo>
                    <a:pt x="83" y="21"/>
                  </a:lnTo>
                  <a:lnTo>
                    <a:pt x="81" y="12"/>
                  </a:lnTo>
                  <a:lnTo>
                    <a:pt x="66" y="0"/>
                  </a:lnTo>
                  <a:lnTo>
                    <a:pt x="45" y="0"/>
                  </a:lnTo>
                  <a:lnTo>
                    <a:pt x="43" y="13"/>
                  </a:lnTo>
                  <a:lnTo>
                    <a:pt x="21" y="24"/>
                  </a:lnTo>
                  <a:lnTo>
                    <a:pt x="3" y="2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14"/>
            <p:cNvSpPr>
              <a:spLocks/>
            </p:cNvSpPr>
            <p:nvPr/>
          </p:nvSpPr>
          <p:spPr bwMode="gray">
            <a:xfrm>
              <a:off x="7629985" y="2418586"/>
              <a:ext cx="419844" cy="252612"/>
            </a:xfrm>
            <a:custGeom>
              <a:avLst/>
              <a:gdLst>
                <a:gd name="T0" fmla="*/ 17640233 w 83"/>
                <a:gd name="T1" fmla="*/ 35282188 h 44"/>
                <a:gd name="T2" fmla="*/ 0 w 83"/>
                <a:gd name="T3" fmla="*/ 60483750 h 44"/>
                <a:gd name="T4" fmla="*/ 5040293 w 83"/>
                <a:gd name="T5" fmla="*/ 98286888 h 44"/>
                <a:gd name="T6" fmla="*/ 27720820 w 83"/>
                <a:gd name="T7" fmla="*/ 108367513 h 44"/>
                <a:gd name="T8" fmla="*/ 103325220 w 83"/>
                <a:gd name="T9" fmla="*/ 110886875 h 44"/>
                <a:gd name="T10" fmla="*/ 204131088 w 83"/>
                <a:gd name="T11" fmla="*/ 22682200 h 44"/>
                <a:gd name="T12" fmla="*/ 209171381 w 83"/>
                <a:gd name="T13" fmla="*/ 2520950 h 44"/>
                <a:gd name="T14" fmla="*/ 194050501 w 83"/>
                <a:gd name="T15" fmla="*/ 0 h 44"/>
                <a:gd name="T16" fmla="*/ 118446101 w 83"/>
                <a:gd name="T17" fmla="*/ 32762825 h 44"/>
                <a:gd name="T18" fmla="*/ 17640233 w 83"/>
                <a:gd name="T19" fmla="*/ 35282188 h 44"/>
                <a:gd name="T20" fmla="*/ 17640233 w 83"/>
                <a:gd name="T21" fmla="*/ 35282188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3" h="44">
                  <a:moveTo>
                    <a:pt x="7" y="14"/>
                  </a:moveTo>
                  <a:lnTo>
                    <a:pt x="0" y="24"/>
                  </a:lnTo>
                  <a:lnTo>
                    <a:pt x="2" y="39"/>
                  </a:lnTo>
                  <a:lnTo>
                    <a:pt x="11" y="43"/>
                  </a:lnTo>
                  <a:lnTo>
                    <a:pt x="41" y="44"/>
                  </a:lnTo>
                  <a:lnTo>
                    <a:pt x="81" y="9"/>
                  </a:lnTo>
                  <a:lnTo>
                    <a:pt x="83" y="1"/>
                  </a:lnTo>
                  <a:lnTo>
                    <a:pt x="77" y="0"/>
                  </a:lnTo>
                  <a:lnTo>
                    <a:pt x="47" y="13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15"/>
            <p:cNvSpPr>
              <a:spLocks/>
            </p:cNvSpPr>
            <p:nvPr/>
          </p:nvSpPr>
          <p:spPr bwMode="gray">
            <a:xfrm>
              <a:off x="7417533" y="2573596"/>
              <a:ext cx="192218" cy="160754"/>
            </a:xfrm>
            <a:custGeom>
              <a:avLst/>
              <a:gdLst>
                <a:gd name="T0" fmla="*/ 95765938 w 38"/>
                <a:gd name="T1" fmla="*/ 0 h 28"/>
                <a:gd name="T2" fmla="*/ 63004700 w 38"/>
                <a:gd name="T3" fmla="*/ 20161250 h 28"/>
                <a:gd name="T4" fmla="*/ 0 w 38"/>
                <a:gd name="T5" fmla="*/ 32762825 h 28"/>
                <a:gd name="T6" fmla="*/ 15120938 w 38"/>
                <a:gd name="T7" fmla="*/ 70564375 h 28"/>
                <a:gd name="T8" fmla="*/ 57964388 w 38"/>
                <a:gd name="T9" fmla="*/ 70564375 h 28"/>
                <a:gd name="T10" fmla="*/ 95765938 w 38"/>
                <a:gd name="T11" fmla="*/ 35282188 h 28"/>
                <a:gd name="T12" fmla="*/ 95765938 w 38"/>
                <a:gd name="T13" fmla="*/ 0 h 28"/>
                <a:gd name="T14" fmla="*/ 95765938 w 38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8" h="28">
                  <a:moveTo>
                    <a:pt x="38" y="0"/>
                  </a:moveTo>
                  <a:lnTo>
                    <a:pt x="25" y="8"/>
                  </a:lnTo>
                  <a:lnTo>
                    <a:pt x="0" y="13"/>
                  </a:lnTo>
                  <a:lnTo>
                    <a:pt x="6" y="28"/>
                  </a:lnTo>
                  <a:lnTo>
                    <a:pt x="23" y="28"/>
                  </a:lnTo>
                  <a:lnTo>
                    <a:pt x="38" y="1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16"/>
            <p:cNvSpPr>
              <a:spLocks/>
            </p:cNvSpPr>
            <p:nvPr/>
          </p:nvSpPr>
          <p:spPr bwMode="gray">
            <a:xfrm>
              <a:off x="7432707" y="2665455"/>
              <a:ext cx="364203" cy="378919"/>
            </a:xfrm>
            <a:custGeom>
              <a:avLst/>
              <a:gdLst>
                <a:gd name="T0" fmla="*/ 98286888 w 72"/>
                <a:gd name="T1" fmla="*/ 0 h 66"/>
                <a:gd name="T2" fmla="*/ 52924075 w 72"/>
                <a:gd name="T3" fmla="*/ 37803138 h 66"/>
                <a:gd name="T4" fmla="*/ 7561263 w 72"/>
                <a:gd name="T5" fmla="*/ 37803138 h 66"/>
                <a:gd name="T6" fmla="*/ 0 w 72"/>
                <a:gd name="T7" fmla="*/ 70564375 h 66"/>
                <a:gd name="T8" fmla="*/ 22682200 w 72"/>
                <a:gd name="T9" fmla="*/ 78125638 h 66"/>
                <a:gd name="T10" fmla="*/ 32762825 w 72"/>
                <a:gd name="T11" fmla="*/ 63004700 h 66"/>
                <a:gd name="T12" fmla="*/ 50403125 w 72"/>
                <a:gd name="T13" fmla="*/ 78125638 h 66"/>
                <a:gd name="T14" fmla="*/ 63004700 w 72"/>
                <a:gd name="T15" fmla="*/ 123488450 h 66"/>
                <a:gd name="T16" fmla="*/ 158770638 w 72"/>
                <a:gd name="T17" fmla="*/ 166330313 h 66"/>
                <a:gd name="T18" fmla="*/ 163810950 w 72"/>
                <a:gd name="T19" fmla="*/ 156249688 h 66"/>
                <a:gd name="T20" fmla="*/ 73085325 w 72"/>
                <a:gd name="T21" fmla="*/ 57964388 h 66"/>
                <a:gd name="T22" fmla="*/ 83165950 w 72"/>
                <a:gd name="T23" fmla="*/ 42843450 h 66"/>
                <a:gd name="T24" fmla="*/ 171370625 w 72"/>
                <a:gd name="T25" fmla="*/ 37803138 h 66"/>
                <a:gd name="T26" fmla="*/ 181451250 w 72"/>
                <a:gd name="T27" fmla="*/ 10080625 h 66"/>
                <a:gd name="T28" fmla="*/ 120967500 w 72"/>
                <a:gd name="T29" fmla="*/ 12601575 h 66"/>
                <a:gd name="T30" fmla="*/ 98286888 w 72"/>
                <a:gd name="T31" fmla="*/ 0 h 66"/>
                <a:gd name="T32" fmla="*/ 98286888 w 72"/>
                <a:gd name="T33" fmla="*/ 0 h 6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2" h="66">
                  <a:moveTo>
                    <a:pt x="39" y="0"/>
                  </a:moveTo>
                  <a:lnTo>
                    <a:pt x="21" y="15"/>
                  </a:lnTo>
                  <a:lnTo>
                    <a:pt x="3" y="15"/>
                  </a:lnTo>
                  <a:lnTo>
                    <a:pt x="0" y="28"/>
                  </a:lnTo>
                  <a:lnTo>
                    <a:pt x="9" y="31"/>
                  </a:lnTo>
                  <a:lnTo>
                    <a:pt x="13" y="25"/>
                  </a:lnTo>
                  <a:lnTo>
                    <a:pt x="20" y="31"/>
                  </a:lnTo>
                  <a:lnTo>
                    <a:pt x="25" y="49"/>
                  </a:lnTo>
                  <a:lnTo>
                    <a:pt x="63" y="66"/>
                  </a:lnTo>
                  <a:lnTo>
                    <a:pt x="65" y="62"/>
                  </a:lnTo>
                  <a:lnTo>
                    <a:pt x="29" y="23"/>
                  </a:lnTo>
                  <a:lnTo>
                    <a:pt x="33" y="17"/>
                  </a:lnTo>
                  <a:lnTo>
                    <a:pt x="68" y="15"/>
                  </a:lnTo>
                  <a:lnTo>
                    <a:pt x="72" y="4"/>
                  </a:lnTo>
                  <a:lnTo>
                    <a:pt x="48" y="5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17"/>
            <p:cNvSpPr>
              <a:spLocks/>
            </p:cNvSpPr>
            <p:nvPr/>
          </p:nvSpPr>
          <p:spPr bwMode="gray">
            <a:xfrm>
              <a:off x="7604691" y="2774539"/>
              <a:ext cx="237746" cy="235387"/>
            </a:xfrm>
            <a:custGeom>
              <a:avLst/>
              <a:gdLst>
                <a:gd name="T0" fmla="*/ 2520967 w 47"/>
                <a:gd name="T1" fmla="*/ 5040274 h 41"/>
                <a:gd name="T2" fmla="*/ 0 w 47"/>
                <a:gd name="T3" fmla="*/ 10080548 h 41"/>
                <a:gd name="T4" fmla="*/ 85685887 w 47"/>
                <a:gd name="T5" fmla="*/ 103324819 h 41"/>
                <a:gd name="T6" fmla="*/ 118448931 w 47"/>
                <a:gd name="T7" fmla="*/ 52922081 h 41"/>
                <a:gd name="T8" fmla="*/ 118448931 w 47"/>
                <a:gd name="T9" fmla="*/ 37801260 h 41"/>
                <a:gd name="T10" fmla="*/ 88206854 w 47"/>
                <a:gd name="T11" fmla="*/ 0 h 41"/>
                <a:gd name="T12" fmla="*/ 2520967 w 47"/>
                <a:gd name="T13" fmla="*/ 5040274 h 41"/>
                <a:gd name="T14" fmla="*/ 2520967 w 47"/>
                <a:gd name="T15" fmla="*/ 5040274 h 4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7" h="41">
                  <a:moveTo>
                    <a:pt x="1" y="2"/>
                  </a:moveTo>
                  <a:lnTo>
                    <a:pt x="0" y="4"/>
                  </a:lnTo>
                  <a:lnTo>
                    <a:pt x="34" y="41"/>
                  </a:lnTo>
                  <a:lnTo>
                    <a:pt x="47" y="21"/>
                  </a:lnTo>
                  <a:lnTo>
                    <a:pt x="47" y="15"/>
                  </a:lnTo>
                  <a:lnTo>
                    <a:pt x="35" y="0"/>
                  </a:lnTo>
                  <a:lnTo>
                    <a:pt x="1" y="2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18"/>
            <p:cNvSpPr>
              <a:spLocks/>
            </p:cNvSpPr>
            <p:nvPr/>
          </p:nvSpPr>
          <p:spPr bwMode="gray">
            <a:xfrm>
              <a:off x="6997686" y="2590821"/>
              <a:ext cx="773934" cy="930073"/>
            </a:xfrm>
            <a:custGeom>
              <a:avLst/>
              <a:gdLst>
                <a:gd name="T0" fmla="*/ 10080646 w 153"/>
                <a:gd name="T1" fmla="*/ 57964388 h 162"/>
                <a:gd name="T2" fmla="*/ 0 w 153"/>
                <a:gd name="T3" fmla="*/ 78125638 h 162"/>
                <a:gd name="T4" fmla="*/ 2520955 w 153"/>
                <a:gd name="T5" fmla="*/ 100806250 h 162"/>
                <a:gd name="T6" fmla="*/ 35282260 w 153"/>
                <a:gd name="T7" fmla="*/ 138609388 h 162"/>
                <a:gd name="T8" fmla="*/ 85685489 w 153"/>
                <a:gd name="T9" fmla="*/ 138609388 h 162"/>
                <a:gd name="T10" fmla="*/ 194053224 w 153"/>
                <a:gd name="T11" fmla="*/ 262096250 h 162"/>
                <a:gd name="T12" fmla="*/ 262096790 w 153"/>
                <a:gd name="T13" fmla="*/ 282257500 h 162"/>
                <a:gd name="T14" fmla="*/ 302419373 w 153"/>
                <a:gd name="T15" fmla="*/ 322580000 h 162"/>
                <a:gd name="T16" fmla="*/ 312500018 w 153"/>
                <a:gd name="T17" fmla="*/ 408265313 h 162"/>
                <a:gd name="T18" fmla="*/ 332661310 w 153"/>
                <a:gd name="T19" fmla="*/ 393144375 h 162"/>
                <a:gd name="T20" fmla="*/ 352822601 w 153"/>
                <a:gd name="T21" fmla="*/ 347781563 h 162"/>
                <a:gd name="T22" fmla="*/ 347782278 w 153"/>
                <a:gd name="T23" fmla="*/ 312499375 h 162"/>
                <a:gd name="T24" fmla="*/ 378024216 w 153"/>
                <a:gd name="T25" fmla="*/ 312499375 h 162"/>
                <a:gd name="T26" fmla="*/ 385585494 w 153"/>
                <a:gd name="T27" fmla="*/ 292338125 h 162"/>
                <a:gd name="T28" fmla="*/ 292338727 w 153"/>
                <a:gd name="T29" fmla="*/ 249496263 h 162"/>
                <a:gd name="T30" fmla="*/ 206653238 w 153"/>
                <a:gd name="T31" fmla="*/ 163810950 h 162"/>
                <a:gd name="T32" fmla="*/ 173891933 w 153"/>
                <a:gd name="T33" fmla="*/ 113407825 h 162"/>
                <a:gd name="T34" fmla="*/ 163811287 w 153"/>
                <a:gd name="T35" fmla="*/ 65524063 h 162"/>
                <a:gd name="T36" fmla="*/ 209174193 w 153"/>
                <a:gd name="T37" fmla="*/ 55443438 h 162"/>
                <a:gd name="T38" fmla="*/ 196572592 w 153"/>
                <a:gd name="T39" fmla="*/ 25201563 h 162"/>
                <a:gd name="T40" fmla="*/ 171370978 w 153"/>
                <a:gd name="T41" fmla="*/ 2520950 h 162"/>
                <a:gd name="T42" fmla="*/ 148690319 w 153"/>
                <a:gd name="T43" fmla="*/ 0 h 162"/>
                <a:gd name="T44" fmla="*/ 115927426 w 153"/>
                <a:gd name="T45" fmla="*/ 10080625 h 162"/>
                <a:gd name="T46" fmla="*/ 85685489 w 153"/>
                <a:gd name="T47" fmla="*/ 52924075 h 162"/>
                <a:gd name="T48" fmla="*/ 68045153 w 153"/>
                <a:gd name="T49" fmla="*/ 65524063 h 162"/>
                <a:gd name="T50" fmla="*/ 40322583 w 153"/>
                <a:gd name="T51" fmla="*/ 45362813 h 162"/>
                <a:gd name="T52" fmla="*/ 10080646 w 153"/>
                <a:gd name="T53" fmla="*/ 57964388 h 162"/>
                <a:gd name="T54" fmla="*/ 10080646 w 153"/>
                <a:gd name="T55" fmla="*/ 57964388 h 1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53" h="162">
                  <a:moveTo>
                    <a:pt x="4" y="23"/>
                  </a:moveTo>
                  <a:lnTo>
                    <a:pt x="0" y="31"/>
                  </a:lnTo>
                  <a:lnTo>
                    <a:pt x="1" y="40"/>
                  </a:lnTo>
                  <a:lnTo>
                    <a:pt x="14" y="55"/>
                  </a:lnTo>
                  <a:lnTo>
                    <a:pt x="34" y="55"/>
                  </a:lnTo>
                  <a:lnTo>
                    <a:pt x="77" y="104"/>
                  </a:lnTo>
                  <a:lnTo>
                    <a:pt x="104" y="112"/>
                  </a:lnTo>
                  <a:lnTo>
                    <a:pt x="120" y="128"/>
                  </a:lnTo>
                  <a:lnTo>
                    <a:pt x="124" y="162"/>
                  </a:lnTo>
                  <a:lnTo>
                    <a:pt x="132" y="156"/>
                  </a:lnTo>
                  <a:lnTo>
                    <a:pt x="140" y="138"/>
                  </a:lnTo>
                  <a:lnTo>
                    <a:pt x="138" y="124"/>
                  </a:lnTo>
                  <a:lnTo>
                    <a:pt x="150" y="124"/>
                  </a:lnTo>
                  <a:lnTo>
                    <a:pt x="153" y="116"/>
                  </a:lnTo>
                  <a:lnTo>
                    <a:pt x="116" y="99"/>
                  </a:lnTo>
                  <a:lnTo>
                    <a:pt x="82" y="65"/>
                  </a:lnTo>
                  <a:lnTo>
                    <a:pt x="69" y="45"/>
                  </a:lnTo>
                  <a:lnTo>
                    <a:pt x="65" y="26"/>
                  </a:lnTo>
                  <a:lnTo>
                    <a:pt x="83" y="22"/>
                  </a:lnTo>
                  <a:lnTo>
                    <a:pt x="78" y="10"/>
                  </a:lnTo>
                  <a:lnTo>
                    <a:pt x="68" y="1"/>
                  </a:lnTo>
                  <a:lnTo>
                    <a:pt x="59" y="0"/>
                  </a:lnTo>
                  <a:lnTo>
                    <a:pt x="46" y="4"/>
                  </a:lnTo>
                  <a:lnTo>
                    <a:pt x="34" y="21"/>
                  </a:lnTo>
                  <a:lnTo>
                    <a:pt x="27" y="26"/>
                  </a:lnTo>
                  <a:lnTo>
                    <a:pt x="16" y="18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19"/>
            <p:cNvSpPr>
              <a:spLocks/>
            </p:cNvSpPr>
            <p:nvPr/>
          </p:nvSpPr>
          <p:spPr bwMode="gray">
            <a:xfrm>
              <a:off x="7382123" y="3480705"/>
              <a:ext cx="171985" cy="160754"/>
            </a:xfrm>
            <a:custGeom>
              <a:avLst/>
              <a:gdLst>
                <a:gd name="T0" fmla="*/ 85685313 w 34"/>
                <a:gd name="T1" fmla="*/ 10080625 h 28"/>
                <a:gd name="T2" fmla="*/ 65524063 w 34"/>
                <a:gd name="T3" fmla="*/ 0 h 28"/>
                <a:gd name="T4" fmla="*/ 0 w 34"/>
                <a:gd name="T5" fmla="*/ 10080625 h 28"/>
                <a:gd name="T6" fmla="*/ 2520950 w 34"/>
                <a:gd name="T7" fmla="*/ 27722513 h 28"/>
                <a:gd name="T8" fmla="*/ 57964388 w 34"/>
                <a:gd name="T9" fmla="*/ 55443438 h 28"/>
                <a:gd name="T10" fmla="*/ 68045013 w 34"/>
                <a:gd name="T11" fmla="*/ 65524063 h 28"/>
                <a:gd name="T12" fmla="*/ 85685313 w 34"/>
                <a:gd name="T13" fmla="*/ 70564375 h 28"/>
                <a:gd name="T14" fmla="*/ 85685313 w 34"/>
                <a:gd name="T15" fmla="*/ 10080625 h 28"/>
                <a:gd name="T16" fmla="*/ 85685313 w 34"/>
                <a:gd name="T17" fmla="*/ 10080625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28">
                  <a:moveTo>
                    <a:pt x="34" y="4"/>
                  </a:moveTo>
                  <a:lnTo>
                    <a:pt x="26" y="0"/>
                  </a:lnTo>
                  <a:lnTo>
                    <a:pt x="0" y="4"/>
                  </a:lnTo>
                  <a:lnTo>
                    <a:pt x="1" y="11"/>
                  </a:lnTo>
                  <a:lnTo>
                    <a:pt x="23" y="22"/>
                  </a:lnTo>
                  <a:lnTo>
                    <a:pt x="27" y="26"/>
                  </a:lnTo>
                  <a:lnTo>
                    <a:pt x="34" y="28"/>
                  </a:lnTo>
                  <a:lnTo>
                    <a:pt x="34" y="4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320"/>
            <p:cNvSpPr>
              <a:spLocks/>
            </p:cNvSpPr>
            <p:nvPr/>
          </p:nvSpPr>
          <p:spPr bwMode="gray">
            <a:xfrm>
              <a:off x="7513640" y="3727578"/>
              <a:ext cx="60701" cy="74634"/>
            </a:xfrm>
            <a:custGeom>
              <a:avLst/>
              <a:gdLst>
                <a:gd name="T0" fmla="*/ 20161250 w 12"/>
                <a:gd name="T1" fmla="*/ 0 h 13"/>
                <a:gd name="T2" fmla="*/ 0 w 12"/>
                <a:gd name="T3" fmla="*/ 5040190 h 13"/>
                <a:gd name="T4" fmla="*/ 0 w 12"/>
                <a:gd name="T5" fmla="*/ 27720253 h 13"/>
                <a:gd name="T6" fmla="*/ 20161250 w 12"/>
                <a:gd name="T7" fmla="*/ 32760444 h 13"/>
                <a:gd name="T8" fmla="*/ 30241875 w 12"/>
                <a:gd name="T9" fmla="*/ 27720253 h 13"/>
                <a:gd name="T10" fmla="*/ 20161250 w 12"/>
                <a:gd name="T11" fmla="*/ 0 h 13"/>
                <a:gd name="T12" fmla="*/ 20161250 w 12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3">
                  <a:moveTo>
                    <a:pt x="8" y="0"/>
                  </a:moveTo>
                  <a:lnTo>
                    <a:pt x="0" y="2"/>
                  </a:lnTo>
                  <a:lnTo>
                    <a:pt x="0" y="11"/>
                  </a:lnTo>
                  <a:lnTo>
                    <a:pt x="8" y="13"/>
                  </a:lnTo>
                  <a:lnTo>
                    <a:pt x="12" y="1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323"/>
            <p:cNvSpPr>
              <a:spLocks/>
            </p:cNvSpPr>
            <p:nvPr/>
          </p:nvSpPr>
          <p:spPr bwMode="gray">
            <a:xfrm>
              <a:off x="7908194" y="2441550"/>
              <a:ext cx="607006" cy="470777"/>
            </a:xfrm>
            <a:custGeom>
              <a:avLst/>
              <a:gdLst>
                <a:gd name="T0" fmla="*/ 83165950 w 120"/>
                <a:gd name="T1" fmla="*/ 0 h 82"/>
                <a:gd name="T2" fmla="*/ 80645000 w 120"/>
                <a:gd name="T3" fmla="*/ 17641888 h 82"/>
                <a:gd name="T4" fmla="*/ 0 w 120"/>
                <a:gd name="T5" fmla="*/ 80645000 h 82"/>
                <a:gd name="T6" fmla="*/ 65524063 w 120"/>
                <a:gd name="T7" fmla="*/ 176410938 h 82"/>
                <a:gd name="T8" fmla="*/ 105846563 w 120"/>
                <a:gd name="T9" fmla="*/ 206652813 h 82"/>
                <a:gd name="T10" fmla="*/ 178931888 w 120"/>
                <a:gd name="T11" fmla="*/ 206652813 h 82"/>
                <a:gd name="T12" fmla="*/ 204133450 w 120"/>
                <a:gd name="T13" fmla="*/ 183972200 h 82"/>
                <a:gd name="T14" fmla="*/ 236894688 w 120"/>
                <a:gd name="T15" fmla="*/ 178931888 h 82"/>
                <a:gd name="T16" fmla="*/ 259576888 w 120"/>
                <a:gd name="T17" fmla="*/ 196572188 h 82"/>
                <a:gd name="T18" fmla="*/ 302418750 w 120"/>
                <a:gd name="T19" fmla="*/ 146169063 h 82"/>
                <a:gd name="T20" fmla="*/ 297378438 w 120"/>
                <a:gd name="T21" fmla="*/ 120967500 h 82"/>
                <a:gd name="T22" fmla="*/ 249496263 w 120"/>
                <a:gd name="T23" fmla="*/ 110886875 h 82"/>
                <a:gd name="T24" fmla="*/ 221773750 w 120"/>
                <a:gd name="T25" fmla="*/ 108367513 h 82"/>
                <a:gd name="T26" fmla="*/ 224294700 w 120"/>
                <a:gd name="T27" fmla="*/ 68045013 h 82"/>
                <a:gd name="T28" fmla="*/ 183972200 w 120"/>
                <a:gd name="T29" fmla="*/ 5040313 h 82"/>
                <a:gd name="T30" fmla="*/ 83165950 w 120"/>
                <a:gd name="T31" fmla="*/ 0 h 82"/>
                <a:gd name="T32" fmla="*/ 83165950 w 120"/>
                <a:gd name="T33" fmla="*/ 0 h 8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0" h="82">
                  <a:moveTo>
                    <a:pt x="33" y="0"/>
                  </a:moveTo>
                  <a:lnTo>
                    <a:pt x="32" y="7"/>
                  </a:lnTo>
                  <a:lnTo>
                    <a:pt x="0" y="32"/>
                  </a:lnTo>
                  <a:lnTo>
                    <a:pt x="26" y="70"/>
                  </a:lnTo>
                  <a:lnTo>
                    <a:pt x="42" y="82"/>
                  </a:lnTo>
                  <a:lnTo>
                    <a:pt x="71" y="82"/>
                  </a:lnTo>
                  <a:lnTo>
                    <a:pt x="81" y="73"/>
                  </a:lnTo>
                  <a:lnTo>
                    <a:pt x="94" y="71"/>
                  </a:lnTo>
                  <a:lnTo>
                    <a:pt x="103" y="78"/>
                  </a:lnTo>
                  <a:lnTo>
                    <a:pt x="120" y="58"/>
                  </a:lnTo>
                  <a:lnTo>
                    <a:pt x="118" y="48"/>
                  </a:lnTo>
                  <a:lnTo>
                    <a:pt x="99" y="44"/>
                  </a:lnTo>
                  <a:lnTo>
                    <a:pt x="88" y="43"/>
                  </a:lnTo>
                  <a:lnTo>
                    <a:pt x="89" y="27"/>
                  </a:lnTo>
                  <a:lnTo>
                    <a:pt x="73" y="2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324"/>
            <p:cNvSpPr>
              <a:spLocks/>
            </p:cNvSpPr>
            <p:nvPr/>
          </p:nvSpPr>
          <p:spPr bwMode="gray">
            <a:xfrm>
              <a:off x="7781736" y="2648233"/>
              <a:ext cx="252919" cy="436330"/>
            </a:xfrm>
            <a:custGeom>
              <a:avLst/>
              <a:gdLst>
                <a:gd name="T0" fmla="*/ 57964388 w 50"/>
                <a:gd name="T1" fmla="*/ 0 h 76"/>
                <a:gd name="T2" fmla="*/ 30241875 w 50"/>
                <a:gd name="T3" fmla="*/ 20161250 h 76"/>
                <a:gd name="T4" fmla="*/ 17641888 w 50"/>
                <a:gd name="T5" fmla="*/ 20161250 h 76"/>
                <a:gd name="T6" fmla="*/ 7561263 w 50"/>
                <a:gd name="T7" fmla="*/ 50403125 h 76"/>
                <a:gd name="T8" fmla="*/ 40322500 w 50"/>
                <a:gd name="T9" fmla="*/ 85685313 h 76"/>
                <a:gd name="T10" fmla="*/ 40322500 w 50"/>
                <a:gd name="T11" fmla="*/ 115927188 h 76"/>
                <a:gd name="T12" fmla="*/ 0 w 50"/>
                <a:gd name="T13" fmla="*/ 171370625 h 76"/>
                <a:gd name="T14" fmla="*/ 7561263 w 50"/>
                <a:gd name="T15" fmla="*/ 189012513 h 76"/>
                <a:gd name="T16" fmla="*/ 30241875 w 50"/>
                <a:gd name="T17" fmla="*/ 191531875 h 76"/>
                <a:gd name="T18" fmla="*/ 50403125 w 50"/>
                <a:gd name="T19" fmla="*/ 168851263 h 76"/>
                <a:gd name="T20" fmla="*/ 60483750 w 50"/>
                <a:gd name="T21" fmla="*/ 163810950 h 76"/>
                <a:gd name="T22" fmla="*/ 75604688 w 50"/>
                <a:gd name="T23" fmla="*/ 181451250 h 76"/>
                <a:gd name="T24" fmla="*/ 126007813 w 50"/>
                <a:gd name="T25" fmla="*/ 168851263 h 76"/>
                <a:gd name="T26" fmla="*/ 123488450 w 50"/>
                <a:gd name="T27" fmla="*/ 95765938 h 76"/>
                <a:gd name="T28" fmla="*/ 57964388 w 50"/>
                <a:gd name="T29" fmla="*/ 0 h 76"/>
                <a:gd name="T30" fmla="*/ 57964388 w 50"/>
                <a:gd name="T31" fmla="*/ 0 h 7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0" h="76">
                  <a:moveTo>
                    <a:pt x="23" y="0"/>
                  </a:moveTo>
                  <a:lnTo>
                    <a:pt x="12" y="8"/>
                  </a:lnTo>
                  <a:lnTo>
                    <a:pt x="7" y="8"/>
                  </a:lnTo>
                  <a:lnTo>
                    <a:pt x="3" y="20"/>
                  </a:lnTo>
                  <a:lnTo>
                    <a:pt x="16" y="34"/>
                  </a:lnTo>
                  <a:lnTo>
                    <a:pt x="16" y="46"/>
                  </a:lnTo>
                  <a:lnTo>
                    <a:pt x="0" y="68"/>
                  </a:lnTo>
                  <a:lnTo>
                    <a:pt x="3" y="75"/>
                  </a:lnTo>
                  <a:lnTo>
                    <a:pt x="12" y="76"/>
                  </a:lnTo>
                  <a:lnTo>
                    <a:pt x="20" y="67"/>
                  </a:lnTo>
                  <a:lnTo>
                    <a:pt x="24" y="65"/>
                  </a:lnTo>
                  <a:lnTo>
                    <a:pt x="30" y="72"/>
                  </a:lnTo>
                  <a:lnTo>
                    <a:pt x="50" y="67"/>
                  </a:lnTo>
                  <a:lnTo>
                    <a:pt x="49" y="38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325"/>
            <p:cNvSpPr>
              <a:spLocks/>
            </p:cNvSpPr>
            <p:nvPr/>
          </p:nvSpPr>
          <p:spPr bwMode="gray">
            <a:xfrm>
              <a:off x="8054888" y="2883620"/>
              <a:ext cx="364203" cy="258355"/>
            </a:xfrm>
            <a:custGeom>
              <a:avLst/>
              <a:gdLst>
                <a:gd name="T0" fmla="*/ 0 w 72"/>
                <a:gd name="T1" fmla="*/ 0 h 45"/>
                <a:gd name="T2" fmla="*/ 0 w 72"/>
                <a:gd name="T3" fmla="*/ 65524521 h 45"/>
                <a:gd name="T4" fmla="*/ 22682200 w 72"/>
                <a:gd name="T5" fmla="*/ 110887651 h 45"/>
                <a:gd name="T6" fmla="*/ 105846563 w 72"/>
                <a:gd name="T7" fmla="*/ 113408619 h 45"/>
                <a:gd name="T8" fmla="*/ 143649700 w 72"/>
                <a:gd name="T9" fmla="*/ 88206880 h 45"/>
                <a:gd name="T10" fmla="*/ 181451250 w 72"/>
                <a:gd name="T11" fmla="*/ 70564869 h 45"/>
                <a:gd name="T12" fmla="*/ 171370625 w 72"/>
                <a:gd name="T13" fmla="*/ 32763054 h 45"/>
                <a:gd name="T14" fmla="*/ 181451250 w 72"/>
                <a:gd name="T15" fmla="*/ 10080696 h 45"/>
                <a:gd name="T16" fmla="*/ 161290000 w 72"/>
                <a:gd name="T17" fmla="*/ 0 h 45"/>
                <a:gd name="T18" fmla="*/ 136088438 w 72"/>
                <a:gd name="T19" fmla="*/ 0 h 45"/>
                <a:gd name="T20" fmla="*/ 115927188 w 72"/>
                <a:gd name="T21" fmla="*/ 22682359 h 45"/>
                <a:gd name="T22" fmla="*/ 30241875 w 72"/>
                <a:gd name="T23" fmla="*/ 22682359 h 45"/>
                <a:gd name="T24" fmla="*/ 0 w 72"/>
                <a:gd name="T25" fmla="*/ 0 h 45"/>
                <a:gd name="T26" fmla="*/ 0 w 72"/>
                <a:gd name="T27" fmla="*/ 0 h 4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2" h="45">
                  <a:moveTo>
                    <a:pt x="0" y="0"/>
                  </a:moveTo>
                  <a:lnTo>
                    <a:pt x="0" y="26"/>
                  </a:lnTo>
                  <a:lnTo>
                    <a:pt x="9" y="44"/>
                  </a:lnTo>
                  <a:lnTo>
                    <a:pt x="42" y="45"/>
                  </a:lnTo>
                  <a:lnTo>
                    <a:pt x="57" y="35"/>
                  </a:lnTo>
                  <a:lnTo>
                    <a:pt x="72" y="28"/>
                  </a:lnTo>
                  <a:lnTo>
                    <a:pt x="68" y="13"/>
                  </a:lnTo>
                  <a:lnTo>
                    <a:pt x="72" y="4"/>
                  </a:lnTo>
                  <a:lnTo>
                    <a:pt x="64" y="0"/>
                  </a:lnTo>
                  <a:lnTo>
                    <a:pt x="54" y="0"/>
                  </a:lnTo>
                  <a:lnTo>
                    <a:pt x="46" y="9"/>
                  </a:lnTo>
                  <a:lnTo>
                    <a:pt x="12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326"/>
            <p:cNvSpPr>
              <a:spLocks/>
            </p:cNvSpPr>
            <p:nvPr/>
          </p:nvSpPr>
          <p:spPr bwMode="gray">
            <a:xfrm>
              <a:off x="7857610" y="3055856"/>
              <a:ext cx="106227" cy="258355"/>
            </a:xfrm>
            <a:custGeom>
              <a:avLst/>
              <a:gdLst>
                <a:gd name="T0" fmla="*/ 0 w 21"/>
                <a:gd name="T1" fmla="*/ 22682359 h 45"/>
                <a:gd name="T2" fmla="*/ 0 w 21"/>
                <a:gd name="T3" fmla="*/ 80645564 h 45"/>
                <a:gd name="T4" fmla="*/ 15121164 w 21"/>
                <a:gd name="T5" fmla="*/ 113408619 h 45"/>
                <a:gd name="T6" fmla="*/ 27722928 w 21"/>
                <a:gd name="T7" fmla="*/ 113408619 h 45"/>
                <a:gd name="T8" fmla="*/ 52924869 w 21"/>
                <a:gd name="T9" fmla="*/ 75605217 h 45"/>
                <a:gd name="T10" fmla="*/ 37803704 w 21"/>
                <a:gd name="T11" fmla="*/ 57964793 h 45"/>
                <a:gd name="T12" fmla="*/ 32763316 w 21"/>
                <a:gd name="T13" fmla="*/ 12601663 h 45"/>
                <a:gd name="T14" fmla="*/ 15121164 w 21"/>
                <a:gd name="T15" fmla="*/ 0 h 45"/>
                <a:gd name="T16" fmla="*/ 0 w 21"/>
                <a:gd name="T17" fmla="*/ 22682359 h 45"/>
                <a:gd name="T18" fmla="*/ 0 w 21"/>
                <a:gd name="T19" fmla="*/ 22682359 h 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1" h="45">
                  <a:moveTo>
                    <a:pt x="0" y="9"/>
                  </a:moveTo>
                  <a:lnTo>
                    <a:pt x="0" y="32"/>
                  </a:lnTo>
                  <a:lnTo>
                    <a:pt x="6" y="45"/>
                  </a:lnTo>
                  <a:lnTo>
                    <a:pt x="11" y="45"/>
                  </a:lnTo>
                  <a:lnTo>
                    <a:pt x="21" y="30"/>
                  </a:lnTo>
                  <a:lnTo>
                    <a:pt x="15" y="23"/>
                  </a:lnTo>
                  <a:lnTo>
                    <a:pt x="13" y="5"/>
                  </a:lnTo>
                  <a:lnTo>
                    <a:pt x="6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327"/>
            <p:cNvSpPr>
              <a:spLocks/>
            </p:cNvSpPr>
            <p:nvPr/>
          </p:nvSpPr>
          <p:spPr bwMode="gray">
            <a:xfrm>
              <a:off x="7948661" y="3055856"/>
              <a:ext cx="131518" cy="149271"/>
            </a:xfrm>
            <a:custGeom>
              <a:avLst/>
              <a:gdLst>
                <a:gd name="T0" fmla="*/ 45362813 w 26"/>
                <a:gd name="T1" fmla="*/ 0 h 26"/>
                <a:gd name="T2" fmla="*/ 0 w 26"/>
                <a:gd name="T3" fmla="*/ 12601575 h 26"/>
                <a:gd name="T4" fmla="*/ 2520950 w 26"/>
                <a:gd name="T5" fmla="*/ 52924075 h 26"/>
                <a:gd name="T6" fmla="*/ 12601575 w 26"/>
                <a:gd name="T7" fmla="*/ 65524063 h 26"/>
                <a:gd name="T8" fmla="*/ 65524063 w 26"/>
                <a:gd name="T9" fmla="*/ 37803138 h 26"/>
                <a:gd name="T10" fmla="*/ 45362813 w 26"/>
                <a:gd name="T11" fmla="*/ 0 h 26"/>
                <a:gd name="T12" fmla="*/ 45362813 w 26"/>
                <a:gd name="T13" fmla="*/ 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6">
                  <a:moveTo>
                    <a:pt x="18" y="0"/>
                  </a:moveTo>
                  <a:lnTo>
                    <a:pt x="0" y="5"/>
                  </a:lnTo>
                  <a:lnTo>
                    <a:pt x="1" y="21"/>
                  </a:lnTo>
                  <a:lnTo>
                    <a:pt x="5" y="26"/>
                  </a:lnTo>
                  <a:lnTo>
                    <a:pt x="26" y="1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328"/>
            <p:cNvSpPr>
              <a:spLocks/>
            </p:cNvSpPr>
            <p:nvPr/>
          </p:nvSpPr>
          <p:spPr bwMode="gray">
            <a:xfrm>
              <a:off x="7923371" y="3119011"/>
              <a:ext cx="409727" cy="551154"/>
            </a:xfrm>
            <a:custGeom>
              <a:avLst/>
              <a:gdLst>
                <a:gd name="T0" fmla="*/ 2519353 w 81"/>
                <a:gd name="T1" fmla="*/ 95765938 h 96"/>
                <a:gd name="T2" fmla="*/ 0 w 81"/>
                <a:gd name="T3" fmla="*/ 115927188 h 96"/>
                <a:gd name="T4" fmla="*/ 63002868 w 81"/>
                <a:gd name="T5" fmla="*/ 146169063 h 96"/>
                <a:gd name="T6" fmla="*/ 90725272 w 81"/>
                <a:gd name="T7" fmla="*/ 156249688 h 96"/>
                <a:gd name="T8" fmla="*/ 75604394 w 81"/>
                <a:gd name="T9" fmla="*/ 171370625 h 96"/>
                <a:gd name="T10" fmla="*/ 42841696 w 81"/>
                <a:gd name="T11" fmla="*/ 176410938 h 96"/>
                <a:gd name="T12" fmla="*/ 35282050 w 81"/>
                <a:gd name="T13" fmla="*/ 191531875 h 96"/>
                <a:gd name="T14" fmla="*/ 47881989 w 81"/>
                <a:gd name="T15" fmla="*/ 219254388 h 96"/>
                <a:gd name="T16" fmla="*/ 85684979 w 81"/>
                <a:gd name="T17" fmla="*/ 236894688 h 96"/>
                <a:gd name="T18" fmla="*/ 100805858 w 81"/>
                <a:gd name="T19" fmla="*/ 241935000 h 96"/>
                <a:gd name="T20" fmla="*/ 105846151 w 81"/>
                <a:gd name="T21" fmla="*/ 194052825 h 96"/>
                <a:gd name="T22" fmla="*/ 131047615 w 81"/>
                <a:gd name="T23" fmla="*/ 166330313 h 96"/>
                <a:gd name="T24" fmla="*/ 63002868 w 81"/>
                <a:gd name="T25" fmla="*/ 83165950 h 96"/>
                <a:gd name="T26" fmla="*/ 73083453 w 81"/>
                <a:gd name="T27" fmla="*/ 57964388 h 96"/>
                <a:gd name="T28" fmla="*/ 85684979 w 81"/>
                <a:gd name="T29" fmla="*/ 57964388 h 96"/>
                <a:gd name="T30" fmla="*/ 110886444 w 81"/>
                <a:gd name="T31" fmla="*/ 75604688 h 96"/>
                <a:gd name="T32" fmla="*/ 123486382 w 81"/>
                <a:gd name="T33" fmla="*/ 68045013 h 96"/>
                <a:gd name="T34" fmla="*/ 131047615 w 81"/>
                <a:gd name="T35" fmla="*/ 40322500 h 96"/>
                <a:gd name="T36" fmla="*/ 204131069 w 81"/>
                <a:gd name="T37" fmla="*/ 40322500 h 96"/>
                <a:gd name="T38" fmla="*/ 204131069 w 81"/>
                <a:gd name="T39" fmla="*/ 0 h 96"/>
                <a:gd name="T40" fmla="*/ 173889311 w 81"/>
                <a:gd name="T41" fmla="*/ 20161250 h 96"/>
                <a:gd name="T42" fmla="*/ 88204332 w 81"/>
                <a:gd name="T43" fmla="*/ 17641888 h 96"/>
                <a:gd name="T44" fmla="*/ 32761110 w 81"/>
                <a:gd name="T45" fmla="*/ 47883763 h 96"/>
                <a:gd name="T46" fmla="*/ 2519353 w 81"/>
                <a:gd name="T47" fmla="*/ 95765938 h 96"/>
                <a:gd name="T48" fmla="*/ 2519353 w 81"/>
                <a:gd name="T49" fmla="*/ 95765938 h 9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1" h="96">
                  <a:moveTo>
                    <a:pt x="1" y="38"/>
                  </a:moveTo>
                  <a:lnTo>
                    <a:pt x="0" y="46"/>
                  </a:lnTo>
                  <a:lnTo>
                    <a:pt x="25" y="58"/>
                  </a:lnTo>
                  <a:lnTo>
                    <a:pt x="36" y="62"/>
                  </a:lnTo>
                  <a:lnTo>
                    <a:pt x="30" y="68"/>
                  </a:lnTo>
                  <a:lnTo>
                    <a:pt x="17" y="70"/>
                  </a:lnTo>
                  <a:lnTo>
                    <a:pt x="14" y="76"/>
                  </a:lnTo>
                  <a:lnTo>
                    <a:pt x="19" y="87"/>
                  </a:lnTo>
                  <a:lnTo>
                    <a:pt x="34" y="94"/>
                  </a:lnTo>
                  <a:lnTo>
                    <a:pt x="40" y="96"/>
                  </a:lnTo>
                  <a:lnTo>
                    <a:pt x="42" y="77"/>
                  </a:lnTo>
                  <a:lnTo>
                    <a:pt x="52" y="66"/>
                  </a:lnTo>
                  <a:lnTo>
                    <a:pt x="25" y="33"/>
                  </a:lnTo>
                  <a:lnTo>
                    <a:pt x="29" y="23"/>
                  </a:lnTo>
                  <a:lnTo>
                    <a:pt x="34" y="23"/>
                  </a:lnTo>
                  <a:lnTo>
                    <a:pt x="44" y="30"/>
                  </a:lnTo>
                  <a:lnTo>
                    <a:pt x="49" y="27"/>
                  </a:lnTo>
                  <a:lnTo>
                    <a:pt x="52" y="16"/>
                  </a:lnTo>
                  <a:lnTo>
                    <a:pt x="81" y="16"/>
                  </a:lnTo>
                  <a:lnTo>
                    <a:pt x="81" y="0"/>
                  </a:lnTo>
                  <a:lnTo>
                    <a:pt x="69" y="8"/>
                  </a:lnTo>
                  <a:lnTo>
                    <a:pt x="35" y="7"/>
                  </a:lnTo>
                  <a:lnTo>
                    <a:pt x="13" y="19"/>
                  </a:lnTo>
                  <a:lnTo>
                    <a:pt x="1" y="38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" name="Rectangle 2"/>
            <p:cNvSpPr/>
            <p:nvPr/>
          </p:nvSpPr>
          <p:spPr>
            <a:xfrm>
              <a:off x="6432184" y="1906311"/>
              <a:ext cx="1109599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GB" b="1" dirty="0">
                  <a:solidFill>
                    <a:schemeClr val="bg2"/>
                  </a:solidFill>
                </a:rPr>
                <a:t> </a:t>
              </a:r>
              <a:r>
                <a:rPr lang="en-GB" b="1" dirty="0" smtClean="0">
                  <a:solidFill>
                    <a:schemeClr val="bg2"/>
                  </a:solidFill>
                </a:rPr>
                <a:t>7 % -10 %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408868" y="2968792"/>
              <a:ext cx="1228221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GB" b="1" dirty="0">
                  <a:solidFill>
                    <a:schemeClr val="bg2"/>
                  </a:solidFill>
                </a:rPr>
                <a:t> </a:t>
              </a:r>
              <a:r>
                <a:rPr lang="en-GB" b="1" dirty="0" smtClean="0">
                  <a:solidFill>
                    <a:schemeClr val="bg2"/>
                  </a:solidFill>
                </a:rPr>
                <a:t>25 % -27 %</a:t>
              </a:r>
              <a:endParaRPr lang="en-US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1589192" y="4124444"/>
            <a:ext cx="751359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 smtClean="0"/>
              <a:t>… But sustainability comes far behind importance of  price, features</a:t>
            </a:r>
            <a:r>
              <a:rPr lang="en-GB" sz="2000" dirty="0" smtClean="0"/>
              <a:t>, </a:t>
            </a:r>
            <a:r>
              <a:rPr lang="en-GB" sz="2000" dirty="0" smtClean="0"/>
              <a:t>brand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43432649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198" y="205200"/>
            <a:ext cx="5814647" cy="782225"/>
          </a:xfrm>
        </p:spPr>
        <p:txBody>
          <a:bodyPr>
            <a:noAutofit/>
          </a:bodyPr>
          <a:lstStyle/>
          <a:p>
            <a:pPr marL="0" indent="0"/>
            <a:r>
              <a:rPr lang="en-US" dirty="0" smtClean="0"/>
              <a:t>“</a:t>
            </a:r>
            <a:r>
              <a:rPr lang="en-GB" dirty="0"/>
              <a:t>So an eco rating is interesting, but which one should I use</a:t>
            </a:r>
            <a:r>
              <a:rPr lang="en-GB" dirty="0" smtClean="0"/>
              <a:t>?”</a:t>
            </a:r>
            <a:endParaRPr lang="en-US" sz="1800" dirty="0"/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8052483" y="3903069"/>
            <a:ext cx="1752442" cy="1170364"/>
            <a:chOff x="7928658" y="3767336"/>
            <a:chExt cx="1947161" cy="1300404"/>
          </a:xfrm>
        </p:grpSpPr>
        <p:sp>
          <p:nvSpPr>
            <p:cNvPr id="11" name="Rectangle 12"/>
            <p:cNvSpPr/>
            <p:nvPr/>
          </p:nvSpPr>
          <p:spPr>
            <a:xfrm rot="18900000" flipH="1">
              <a:off x="8027848" y="3767336"/>
              <a:ext cx="1847971" cy="1300404"/>
            </a:xfrm>
            <a:custGeom>
              <a:avLst/>
              <a:gdLst>
                <a:gd name="connsiteX0" fmla="*/ 0 w 8255456"/>
                <a:gd name="connsiteY0" fmla="*/ 0 h 7120877"/>
                <a:gd name="connsiteX1" fmla="*/ 8255456 w 8255456"/>
                <a:gd name="connsiteY1" fmla="*/ 0 h 7120877"/>
                <a:gd name="connsiteX2" fmla="*/ 8255456 w 8255456"/>
                <a:gd name="connsiteY2" fmla="*/ 7120877 h 7120877"/>
                <a:gd name="connsiteX3" fmla="*/ 0 w 8255456"/>
                <a:gd name="connsiteY3" fmla="*/ 7120877 h 7120877"/>
                <a:gd name="connsiteX4" fmla="*/ 0 w 8255456"/>
                <a:gd name="connsiteY4" fmla="*/ 0 h 7120877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5456 w 8255456"/>
                <a:gd name="connsiteY2" fmla="*/ 662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580"/>
                <a:gd name="connsiteY0" fmla="*/ 662 h 7121539"/>
                <a:gd name="connsiteX1" fmla="*/ 7679621 w 8255580"/>
                <a:gd name="connsiteY1" fmla="*/ 0 h 7121539"/>
                <a:gd name="connsiteX2" fmla="*/ 8255456 w 8255580"/>
                <a:gd name="connsiteY2" fmla="*/ 662 h 7121539"/>
                <a:gd name="connsiteX3" fmla="*/ 8254780 w 8255580"/>
                <a:gd name="connsiteY3" fmla="*/ 529754 h 7121539"/>
                <a:gd name="connsiteX4" fmla="*/ 8255456 w 8255580"/>
                <a:gd name="connsiteY4" fmla="*/ 7121539 h 7121539"/>
                <a:gd name="connsiteX5" fmla="*/ 0 w 8255580"/>
                <a:gd name="connsiteY5" fmla="*/ 7121539 h 7121539"/>
                <a:gd name="connsiteX6" fmla="*/ 0 w 8255580"/>
                <a:gd name="connsiteY6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7679621 w 8255456"/>
                <a:gd name="connsiteY1" fmla="*/ 0 h 7121539"/>
                <a:gd name="connsiteX2" fmla="*/ 8254780 w 8255456"/>
                <a:gd name="connsiteY2" fmla="*/ 529754 h 7121539"/>
                <a:gd name="connsiteX3" fmla="*/ 8255456 w 8255456"/>
                <a:gd name="connsiteY3" fmla="*/ 7121539 h 7121539"/>
                <a:gd name="connsiteX4" fmla="*/ 0 w 8255456"/>
                <a:gd name="connsiteY4" fmla="*/ 7121539 h 7121539"/>
                <a:gd name="connsiteX5" fmla="*/ 0 w 8255456"/>
                <a:gd name="connsiteY5" fmla="*/ 662 h 7121539"/>
                <a:gd name="connsiteX0" fmla="*/ 0 w 8255456"/>
                <a:gd name="connsiteY0" fmla="*/ 662 h 7121539"/>
                <a:gd name="connsiteX1" fmla="*/ 3482864 w 8255456"/>
                <a:gd name="connsiteY1" fmla="*/ 4144 h 7121539"/>
                <a:gd name="connsiteX2" fmla="*/ 7679621 w 8255456"/>
                <a:gd name="connsiteY2" fmla="*/ 0 h 7121539"/>
                <a:gd name="connsiteX3" fmla="*/ 8254780 w 8255456"/>
                <a:gd name="connsiteY3" fmla="*/ 529754 h 7121539"/>
                <a:gd name="connsiteX4" fmla="*/ 8255456 w 8255456"/>
                <a:gd name="connsiteY4" fmla="*/ 7121539 h 7121539"/>
                <a:gd name="connsiteX5" fmla="*/ 0 w 8255456"/>
                <a:gd name="connsiteY5" fmla="*/ 7121539 h 7121539"/>
                <a:gd name="connsiteX6" fmla="*/ 0 w 8255456"/>
                <a:gd name="connsiteY6" fmla="*/ 662 h 7121539"/>
                <a:gd name="connsiteX0" fmla="*/ 1779 w 8257235"/>
                <a:gd name="connsiteY0" fmla="*/ 662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7" fmla="*/ 1779 w 8257235"/>
                <a:gd name="connsiteY7" fmla="*/ 662 h 7121539"/>
                <a:gd name="connsiteX0" fmla="*/ 0 w 8257235"/>
                <a:gd name="connsiteY0" fmla="*/ 3482279 h 7121539"/>
                <a:gd name="connsiteX1" fmla="*/ 3484643 w 8257235"/>
                <a:gd name="connsiteY1" fmla="*/ 4144 h 7121539"/>
                <a:gd name="connsiteX2" fmla="*/ 7681400 w 8257235"/>
                <a:gd name="connsiteY2" fmla="*/ 0 h 7121539"/>
                <a:gd name="connsiteX3" fmla="*/ 8256559 w 8257235"/>
                <a:gd name="connsiteY3" fmla="*/ 529754 h 7121539"/>
                <a:gd name="connsiteX4" fmla="*/ 8257235 w 8257235"/>
                <a:gd name="connsiteY4" fmla="*/ 7121539 h 7121539"/>
                <a:gd name="connsiteX5" fmla="*/ 1779 w 8257235"/>
                <a:gd name="connsiteY5" fmla="*/ 7121539 h 7121539"/>
                <a:gd name="connsiteX6" fmla="*/ 0 w 8257235"/>
                <a:gd name="connsiteY6" fmla="*/ 3482279 h 7121539"/>
                <a:gd name="connsiteX0" fmla="*/ 0 w 8257235"/>
                <a:gd name="connsiteY0" fmla="*/ 3482279 h 7129740"/>
                <a:gd name="connsiteX1" fmla="*/ 3484643 w 8257235"/>
                <a:gd name="connsiteY1" fmla="*/ 4144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0 w 8257235"/>
                <a:gd name="connsiteY0" fmla="*/ 3482279 h 7129740"/>
                <a:gd name="connsiteX1" fmla="*/ 2845602 w 8257235"/>
                <a:gd name="connsiteY1" fmla="*/ 4156 h 7129740"/>
                <a:gd name="connsiteX2" fmla="*/ 7681400 w 8257235"/>
                <a:gd name="connsiteY2" fmla="*/ 0 h 7129740"/>
                <a:gd name="connsiteX3" fmla="*/ 8256559 w 8257235"/>
                <a:gd name="connsiteY3" fmla="*/ 529754 h 7129740"/>
                <a:gd name="connsiteX4" fmla="*/ 8257235 w 8257235"/>
                <a:gd name="connsiteY4" fmla="*/ 7121539 h 7129740"/>
                <a:gd name="connsiteX5" fmla="*/ 3627068 w 8257235"/>
                <a:gd name="connsiteY5" fmla="*/ 7129740 h 7129740"/>
                <a:gd name="connsiteX6" fmla="*/ 1779 w 8257235"/>
                <a:gd name="connsiteY6" fmla="*/ 7121539 h 7129740"/>
                <a:gd name="connsiteX7" fmla="*/ 0 w 8257235"/>
                <a:gd name="connsiteY7" fmla="*/ 3482279 h 7129740"/>
                <a:gd name="connsiteX0" fmla="*/ 183222 w 8255458"/>
                <a:gd name="connsiteY0" fmla="*/ 2698609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83222 w 8255458"/>
                <a:gd name="connsiteY7" fmla="*/ 2698609 h 7129740"/>
                <a:gd name="connsiteX0" fmla="*/ 166405 w 8255458"/>
                <a:gd name="connsiteY0" fmla="*/ 2688520 h 7129740"/>
                <a:gd name="connsiteX1" fmla="*/ 2843825 w 8255458"/>
                <a:gd name="connsiteY1" fmla="*/ 4156 h 7129740"/>
                <a:gd name="connsiteX2" fmla="*/ 7679623 w 8255458"/>
                <a:gd name="connsiteY2" fmla="*/ 0 h 7129740"/>
                <a:gd name="connsiteX3" fmla="*/ 8254782 w 8255458"/>
                <a:gd name="connsiteY3" fmla="*/ 529754 h 7129740"/>
                <a:gd name="connsiteX4" fmla="*/ 8255458 w 8255458"/>
                <a:gd name="connsiteY4" fmla="*/ 7121539 h 7129740"/>
                <a:gd name="connsiteX5" fmla="*/ 3625291 w 8255458"/>
                <a:gd name="connsiteY5" fmla="*/ 7129740 h 7129740"/>
                <a:gd name="connsiteX6" fmla="*/ 2 w 8255458"/>
                <a:gd name="connsiteY6" fmla="*/ 7121539 h 7129740"/>
                <a:gd name="connsiteX7" fmla="*/ 166405 w 8255458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9740"/>
                <a:gd name="connsiteX1" fmla="*/ 2677420 w 8089053"/>
                <a:gd name="connsiteY1" fmla="*/ 4156 h 7129740"/>
                <a:gd name="connsiteX2" fmla="*/ 7513218 w 8089053"/>
                <a:gd name="connsiteY2" fmla="*/ 0 h 7129740"/>
                <a:gd name="connsiteX3" fmla="*/ 8088377 w 8089053"/>
                <a:gd name="connsiteY3" fmla="*/ 529754 h 7129740"/>
                <a:gd name="connsiteX4" fmla="*/ 8089053 w 8089053"/>
                <a:gd name="connsiteY4" fmla="*/ 7121539 h 7129740"/>
                <a:gd name="connsiteX5" fmla="*/ 3458886 w 8089053"/>
                <a:gd name="connsiteY5" fmla="*/ 7129740 h 7129740"/>
                <a:gd name="connsiteX6" fmla="*/ 2968523 w 8089053"/>
                <a:gd name="connsiteY6" fmla="*/ 5902401 h 7129740"/>
                <a:gd name="connsiteX7" fmla="*/ 0 w 8089053"/>
                <a:gd name="connsiteY7" fmla="*/ 2688520 h 7129740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2968523 w 8089053"/>
                <a:gd name="connsiteY6" fmla="*/ 5902401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89053"/>
                <a:gd name="connsiteY0" fmla="*/ 2688520 h 7121539"/>
                <a:gd name="connsiteX1" fmla="*/ 2677420 w 8089053"/>
                <a:gd name="connsiteY1" fmla="*/ 4156 h 7121539"/>
                <a:gd name="connsiteX2" fmla="*/ 7513218 w 8089053"/>
                <a:gd name="connsiteY2" fmla="*/ 0 h 7121539"/>
                <a:gd name="connsiteX3" fmla="*/ 8088377 w 8089053"/>
                <a:gd name="connsiteY3" fmla="*/ 529754 h 7121539"/>
                <a:gd name="connsiteX4" fmla="*/ 8089053 w 8089053"/>
                <a:gd name="connsiteY4" fmla="*/ 7121539 h 7121539"/>
                <a:gd name="connsiteX5" fmla="*/ 6174733 w 8089053"/>
                <a:gd name="connsiteY5" fmla="*/ 4217961 h 7121539"/>
                <a:gd name="connsiteX6" fmla="*/ 3637961 w 8089053"/>
                <a:gd name="connsiteY6" fmla="*/ 6332365 h 7121539"/>
                <a:gd name="connsiteX7" fmla="*/ 0 w 8089053"/>
                <a:gd name="connsiteY7" fmla="*/ 2688520 h 7121539"/>
                <a:gd name="connsiteX0" fmla="*/ 0 w 8092356"/>
                <a:gd name="connsiteY0" fmla="*/ 2688520 h 7121539"/>
                <a:gd name="connsiteX1" fmla="*/ 2677420 w 8092356"/>
                <a:gd name="connsiteY1" fmla="*/ 4156 h 7121539"/>
                <a:gd name="connsiteX2" fmla="*/ 7513218 w 8092356"/>
                <a:gd name="connsiteY2" fmla="*/ 0 h 7121539"/>
                <a:gd name="connsiteX3" fmla="*/ 8088377 w 8092356"/>
                <a:gd name="connsiteY3" fmla="*/ 529754 h 7121539"/>
                <a:gd name="connsiteX4" fmla="*/ 8089053 w 8092356"/>
                <a:gd name="connsiteY4" fmla="*/ 7121539 h 7121539"/>
                <a:gd name="connsiteX5" fmla="*/ 6174733 w 8092356"/>
                <a:gd name="connsiteY5" fmla="*/ 4217961 h 7121539"/>
                <a:gd name="connsiteX6" fmla="*/ 3637961 w 8092356"/>
                <a:gd name="connsiteY6" fmla="*/ 6332365 h 7121539"/>
                <a:gd name="connsiteX7" fmla="*/ 0 w 8092356"/>
                <a:gd name="connsiteY7" fmla="*/ 2688520 h 7121539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6174733 w 8094998"/>
                <a:gd name="connsiteY5" fmla="*/ 4217961 h 6332365"/>
                <a:gd name="connsiteX6" fmla="*/ 3637961 w 8094998"/>
                <a:gd name="connsiteY6" fmla="*/ 6332365 h 6332365"/>
                <a:gd name="connsiteX7" fmla="*/ 0 w 8094998"/>
                <a:gd name="connsiteY7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4998"/>
                <a:gd name="connsiteY0" fmla="*/ 2688520 h 6332365"/>
                <a:gd name="connsiteX1" fmla="*/ 2677420 w 8094998"/>
                <a:gd name="connsiteY1" fmla="*/ 4156 h 6332365"/>
                <a:gd name="connsiteX2" fmla="*/ 7513218 w 8094998"/>
                <a:gd name="connsiteY2" fmla="*/ 0 h 6332365"/>
                <a:gd name="connsiteX3" fmla="*/ 8088377 w 8094998"/>
                <a:gd name="connsiteY3" fmla="*/ 529754 h 6332365"/>
                <a:gd name="connsiteX4" fmla="*/ 8092335 w 8094998"/>
                <a:gd name="connsiteY4" fmla="*/ 1891909 h 6332365"/>
                <a:gd name="connsiteX5" fmla="*/ 3637961 w 8094998"/>
                <a:gd name="connsiteY5" fmla="*/ 6332365 h 6332365"/>
                <a:gd name="connsiteX6" fmla="*/ 0 w 8094998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9564"/>
                <a:gd name="connsiteY0" fmla="*/ 2688520 h 6332365"/>
                <a:gd name="connsiteX1" fmla="*/ 2677420 w 8099564"/>
                <a:gd name="connsiteY1" fmla="*/ 4156 h 6332365"/>
                <a:gd name="connsiteX2" fmla="*/ 7513218 w 8099564"/>
                <a:gd name="connsiteY2" fmla="*/ 0 h 6332365"/>
                <a:gd name="connsiteX3" fmla="*/ 8088377 w 8099564"/>
                <a:gd name="connsiteY3" fmla="*/ 529754 h 6332365"/>
                <a:gd name="connsiteX4" fmla="*/ 8092335 w 8099564"/>
                <a:gd name="connsiteY4" fmla="*/ 1891909 h 6332365"/>
                <a:gd name="connsiteX5" fmla="*/ 3637961 w 8099564"/>
                <a:gd name="connsiteY5" fmla="*/ 6332365 h 6332365"/>
                <a:gd name="connsiteX6" fmla="*/ 0 w 8099564"/>
                <a:gd name="connsiteY6" fmla="*/ 2688520 h 6332365"/>
                <a:gd name="connsiteX0" fmla="*/ 0 w 8092335"/>
                <a:gd name="connsiteY0" fmla="*/ 2688520 h 6332365"/>
                <a:gd name="connsiteX1" fmla="*/ 2677420 w 8092335"/>
                <a:gd name="connsiteY1" fmla="*/ 4156 h 6332365"/>
                <a:gd name="connsiteX2" fmla="*/ 7513218 w 8092335"/>
                <a:gd name="connsiteY2" fmla="*/ 0 h 6332365"/>
                <a:gd name="connsiteX3" fmla="*/ 8088377 w 8092335"/>
                <a:gd name="connsiteY3" fmla="*/ 529754 h 6332365"/>
                <a:gd name="connsiteX4" fmla="*/ 8092335 w 8092335"/>
                <a:gd name="connsiteY4" fmla="*/ 1891909 h 6332365"/>
                <a:gd name="connsiteX5" fmla="*/ 3637961 w 8092335"/>
                <a:gd name="connsiteY5" fmla="*/ 6332365 h 6332365"/>
                <a:gd name="connsiteX6" fmla="*/ 0 w 809233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2677420 w 8088495"/>
                <a:gd name="connsiteY1" fmla="*/ 4156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88495"/>
                <a:gd name="connsiteY0" fmla="*/ 2688520 h 6332365"/>
                <a:gd name="connsiteX1" fmla="*/ 3872205 w 8088495"/>
                <a:gd name="connsiteY1" fmla="*/ 314 h 6332365"/>
                <a:gd name="connsiteX2" fmla="*/ 7513218 w 8088495"/>
                <a:gd name="connsiteY2" fmla="*/ 0 h 6332365"/>
                <a:gd name="connsiteX3" fmla="*/ 8088377 w 8088495"/>
                <a:gd name="connsiteY3" fmla="*/ 529754 h 6332365"/>
                <a:gd name="connsiteX4" fmla="*/ 8088496 w 8088495"/>
                <a:gd name="connsiteY4" fmla="*/ 1734396 h 6332365"/>
                <a:gd name="connsiteX5" fmla="*/ 3637961 w 8088495"/>
                <a:gd name="connsiteY5" fmla="*/ 6332365 h 6332365"/>
                <a:gd name="connsiteX6" fmla="*/ 0 w 8088495"/>
                <a:gd name="connsiteY6" fmla="*/ 2688520 h 6332365"/>
                <a:gd name="connsiteX0" fmla="*/ 0 w 8094110"/>
                <a:gd name="connsiteY0" fmla="*/ 2688520 h 2688521"/>
                <a:gd name="connsiteX1" fmla="*/ 3872205 w 8094110"/>
                <a:gd name="connsiteY1" fmla="*/ 314 h 2688521"/>
                <a:gd name="connsiteX2" fmla="*/ 7513218 w 8094110"/>
                <a:gd name="connsiteY2" fmla="*/ 0 h 2688521"/>
                <a:gd name="connsiteX3" fmla="*/ 8088377 w 8094110"/>
                <a:gd name="connsiteY3" fmla="*/ 529754 h 2688521"/>
                <a:gd name="connsiteX4" fmla="*/ 8088496 w 8094110"/>
                <a:gd name="connsiteY4" fmla="*/ 1734396 h 2688521"/>
                <a:gd name="connsiteX5" fmla="*/ 6803561 w 8094110"/>
                <a:gd name="connsiteY5" fmla="*/ 2598190 h 2688521"/>
                <a:gd name="connsiteX6" fmla="*/ 0 w 8094110"/>
                <a:gd name="connsiteY6" fmla="*/ 2688520 h 2688521"/>
                <a:gd name="connsiteX0" fmla="*/ 0 w 8100072"/>
                <a:gd name="connsiteY0" fmla="*/ 2688520 h 2966994"/>
                <a:gd name="connsiteX1" fmla="*/ 3872205 w 8100072"/>
                <a:gd name="connsiteY1" fmla="*/ 314 h 2966994"/>
                <a:gd name="connsiteX2" fmla="*/ 7513218 w 8100072"/>
                <a:gd name="connsiteY2" fmla="*/ 0 h 2966994"/>
                <a:gd name="connsiteX3" fmla="*/ 8088377 w 8100072"/>
                <a:gd name="connsiteY3" fmla="*/ 529754 h 2966994"/>
                <a:gd name="connsiteX4" fmla="*/ 8088496 w 8100072"/>
                <a:gd name="connsiteY4" fmla="*/ 1734396 h 2966994"/>
                <a:gd name="connsiteX5" fmla="*/ 6849660 w 8100072"/>
                <a:gd name="connsiteY5" fmla="*/ 2966995 h 2966994"/>
                <a:gd name="connsiteX6" fmla="*/ 0 w 8100072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0 w 8088495"/>
                <a:gd name="connsiteY0" fmla="*/ 2688520 h 2966994"/>
                <a:gd name="connsiteX1" fmla="*/ 3872205 w 8088495"/>
                <a:gd name="connsiteY1" fmla="*/ 314 h 2966994"/>
                <a:gd name="connsiteX2" fmla="*/ 7513218 w 8088495"/>
                <a:gd name="connsiteY2" fmla="*/ 0 h 2966994"/>
                <a:gd name="connsiteX3" fmla="*/ 8088377 w 8088495"/>
                <a:gd name="connsiteY3" fmla="*/ 529754 h 2966994"/>
                <a:gd name="connsiteX4" fmla="*/ 8088496 w 8088495"/>
                <a:gd name="connsiteY4" fmla="*/ 1734396 h 2966994"/>
                <a:gd name="connsiteX5" fmla="*/ 6849660 w 8088495"/>
                <a:gd name="connsiteY5" fmla="*/ 2966995 h 2966994"/>
                <a:gd name="connsiteX6" fmla="*/ 0 w 8088495"/>
                <a:gd name="connsiteY6" fmla="*/ 2688520 h 2966994"/>
                <a:gd name="connsiteX0" fmla="*/ 2981176 w 4220011"/>
                <a:gd name="connsiteY0" fmla="*/ 2966995 h 2966994"/>
                <a:gd name="connsiteX1" fmla="*/ 3721 w 4220011"/>
                <a:gd name="connsiteY1" fmla="*/ 314 h 2966994"/>
                <a:gd name="connsiteX2" fmla="*/ 3644734 w 4220011"/>
                <a:gd name="connsiteY2" fmla="*/ 0 h 2966994"/>
                <a:gd name="connsiteX3" fmla="*/ 4219893 w 4220011"/>
                <a:gd name="connsiteY3" fmla="*/ 529754 h 2966994"/>
                <a:gd name="connsiteX4" fmla="*/ 4220012 w 4220011"/>
                <a:gd name="connsiteY4" fmla="*/ 1734396 h 2966994"/>
                <a:gd name="connsiteX5" fmla="*/ 2981176 w 4220011"/>
                <a:gd name="connsiteY5" fmla="*/ 2966995 h 2966994"/>
                <a:gd name="connsiteX0" fmla="*/ 2977494 w 4216329"/>
                <a:gd name="connsiteY0" fmla="*/ 2966995 h 2966994"/>
                <a:gd name="connsiteX1" fmla="*/ 39 w 4216329"/>
                <a:gd name="connsiteY1" fmla="*/ 314 h 2966994"/>
                <a:gd name="connsiteX2" fmla="*/ 3641052 w 4216329"/>
                <a:gd name="connsiteY2" fmla="*/ 0 h 2966994"/>
                <a:gd name="connsiteX3" fmla="*/ 4216211 w 4216329"/>
                <a:gd name="connsiteY3" fmla="*/ 529754 h 2966994"/>
                <a:gd name="connsiteX4" fmla="*/ 4216330 w 4216329"/>
                <a:gd name="connsiteY4" fmla="*/ 1734396 h 2966994"/>
                <a:gd name="connsiteX5" fmla="*/ 2977494 w 4216329"/>
                <a:gd name="connsiteY5" fmla="*/ 2966995 h 2966994"/>
                <a:gd name="connsiteX0" fmla="*/ 2977485 w 4216320"/>
                <a:gd name="connsiteY0" fmla="*/ 2966995 h 2966994"/>
                <a:gd name="connsiteX1" fmla="*/ 30 w 4216320"/>
                <a:gd name="connsiteY1" fmla="*/ 314 h 2966994"/>
                <a:gd name="connsiteX2" fmla="*/ 3641043 w 4216320"/>
                <a:gd name="connsiteY2" fmla="*/ 0 h 2966994"/>
                <a:gd name="connsiteX3" fmla="*/ 4216202 w 4216320"/>
                <a:gd name="connsiteY3" fmla="*/ 529754 h 2966994"/>
                <a:gd name="connsiteX4" fmla="*/ 4216321 w 4216320"/>
                <a:gd name="connsiteY4" fmla="*/ 1734396 h 2966994"/>
                <a:gd name="connsiteX5" fmla="*/ 2977485 w 4216320"/>
                <a:gd name="connsiteY5" fmla="*/ 2966995 h 2966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6320" h="2966994">
                  <a:moveTo>
                    <a:pt x="2977485" y="2966995"/>
                  </a:moveTo>
                  <a:cubicBezTo>
                    <a:pt x="2966282" y="2962270"/>
                    <a:pt x="-10679" y="-12298"/>
                    <a:pt x="30" y="314"/>
                  </a:cubicBezTo>
                  <a:lnTo>
                    <a:pt x="3641043" y="0"/>
                  </a:lnTo>
                  <a:cubicBezTo>
                    <a:pt x="3974023" y="20189"/>
                    <a:pt x="3928622" y="264877"/>
                    <a:pt x="4216202" y="529754"/>
                  </a:cubicBezTo>
                  <a:cubicBezTo>
                    <a:pt x="4216427" y="2727016"/>
                    <a:pt x="4214841" y="1705745"/>
                    <a:pt x="4216321" y="1734396"/>
                  </a:cubicBezTo>
                  <a:cubicBezTo>
                    <a:pt x="4208038" y="1738041"/>
                    <a:pt x="2981924" y="2959513"/>
                    <a:pt x="2977485" y="2966995"/>
                  </a:cubicBezTo>
                  <a:close/>
                </a:path>
              </a:pathLst>
            </a:custGeom>
            <a:solidFill>
              <a:schemeClr val="accent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R="0" lvl="0" indent="0" fontAlgn="base">
                <a:lnSpc>
                  <a:spcPts val="26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</a:pPr>
              <a:endParaRPr kumimoji="0" lang="en-US" sz="2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odafone Lt" pitchFamily="34" charset="0"/>
              </a:endParaRPr>
            </a:p>
          </p:txBody>
        </p:sp>
        <p:pic>
          <p:nvPicPr>
            <p:cNvPr id="12" name="Picture 11" descr="VF_4col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8658" y="4373113"/>
              <a:ext cx="487422" cy="478282"/>
            </a:xfrm>
            <a:prstGeom prst="rect">
              <a:avLst/>
            </a:prstGeom>
          </p:spPr>
        </p:pic>
      </p:grp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20" name="Content Placeholder 6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38" y="987425"/>
            <a:ext cx="3605299" cy="3671888"/>
          </a:xfrm>
        </p:spPr>
      </p:pic>
      <p:pic>
        <p:nvPicPr>
          <p:cNvPr id="27" name="Picture 9" descr="http://popsop.com/wp-content/uploads/eco_rating_o2_preview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655" y="1173457"/>
            <a:ext cx="1236345" cy="123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9785" y="3032900"/>
            <a:ext cx="1202292" cy="1121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8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06" r="39816" b="9846"/>
          <a:stretch>
            <a:fillRect/>
          </a:stretch>
        </p:blipFill>
        <p:spPr bwMode="auto">
          <a:xfrm>
            <a:off x="4338954" y="1260376"/>
            <a:ext cx="1239838" cy="1206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723" y="2354261"/>
            <a:ext cx="959815" cy="10744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20" descr="http://www.snessi.com/medias/Logo%20Blue%20Angel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779" y="3593519"/>
            <a:ext cx="1069975" cy="1069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61729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7" descr="powerPoint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85" t="15188" b="28564"/>
          <a:stretch/>
        </p:blipFill>
        <p:spPr>
          <a:xfrm>
            <a:off x="-1" y="1"/>
            <a:ext cx="2804365" cy="51435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5600" y="2635755"/>
            <a:ext cx="1721446" cy="1854000"/>
          </a:xfrm>
        </p:spPr>
        <p:txBody>
          <a:bodyPr>
            <a:noAutofit/>
          </a:bodyPr>
          <a:lstStyle/>
          <a:p>
            <a:r>
              <a:rPr lang="en-US" b="0" dirty="0" smtClean="0"/>
              <a:t>We need to </a:t>
            </a:r>
            <a:r>
              <a:rPr lang="en-US" dirty="0"/>
              <a:t>educate</a:t>
            </a:r>
            <a:r>
              <a:rPr lang="en-US" b="0" dirty="0"/>
              <a:t> the </a:t>
            </a:r>
            <a:r>
              <a:rPr lang="en-US" b="0" dirty="0" smtClean="0"/>
              <a:t>consumer, </a:t>
            </a:r>
            <a:r>
              <a:rPr lang="en-US" b="0" dirty="0"/>
              <a:t>make it </a:t>
            </a:r>
            <a:r>
              <a:rPr lang="en-US" dirty="0" smtClean="0"/>
              <a:t>relevant </a:t>
            </a:r>
            <a:r>
              <a:rPr lang="en-US" b="0" dirty="0" smtClean="0"/>
              <a:t>to them, and </a:t>
            </a:r>
            <a:r>
              <a:rPr lang="en-US" dirty="0" smtClean="0"/>
              <a:t>standardize! 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A83A2B-3358-44F8-83A0-4598795D8FB5}" type="slidenum">
              <a:rPr lang="en-GB" smtClean="0">
                <a:solidFill>
                  <a:schemeClr val="tx2"/>
                </a:solidFill>
              </a:rPr>
              <a:pPr/>
              <a:t>7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8781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768378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59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11 Imagen" descr="banda_baja.png"/>
          <p:cNvPicPr>
            <a:picLocks noChangeAspect="1"/>
          </p:cNvPicPr>
          <p:nvPr/>
        </p:nvPicPr>
        <p:blipFill>
          <a:blip r:embed="rId3" cstate="print"/>
          <a:srcRect t="66102"/>
          <a:stretch>
            <a:fillRect/>
          </a:stretch>
        </p:blipFill>
        <p:spPr>
          <a:xfrm>
            <a:off x="1364" y="3399586"/>
            <a:ext cx="9141271" cy="1742799"/>
          </a:xfrm>
          <a:prstGeom prst="rect">
            <a:avLst/>
          </a:prstGeom>
        </p:spPr>
      </p:pic>
      <p:sp>
        <p:nvSpPr>
          <p:cNvPr id="6" name="5 CuadroTexto"/>
          <p:cNvSpPr txBox="1"/>
          <p:nvPr/>
        </p:nvSpPr>
        <p:spPr>
          <a:xfrm>
            <a:off x="2538127" y="1632865"/>
            <a:ext cx="4067746" cy="723052"/>
          </a:xfrm>
          <a:prstGeom prst="rect">
            <a:avLst/>
          </a:prstGeom>
          <a:noFill/>
        </p:spPr>
        <p:txBody>
          <a:bodyPr wrap="square" lIns="45702" tIns="22851" rIns="45702" bIns="22851" rtlCol="0">
            <a:spAutoFit/>
          </a:bodyPr>
          <a:lstStyle/>
          <a:p>
            <a:pPr algn="ctr"/>
            <a:r>
              <a:rPr lang="es-ES" sz="4400" i="1" dirty="0" err="1">
                <a:solidFill>
                  <a:schemeClr val="bg1"/>
                </a:solidFill>
                <a:latin typeface="Telefonica Text" pitchFamily="2" charset="0"/>
              </a:rPr>
              <a:t>Thank</a:t>
            </a:r>
            <a:r>
              <a:rPr lang="es-ES" sz="4400" i="1" dirty="0">
                <a:solidFill>
                  <a:schemeClr val="bg1"/>
                </a:solidFill>
                <a:latin typeface="Telefonica Text" pitchFamily="2" charset="0"/>
              </a:rPr>
              <a:t> </a:t>
            </a:r>
            <a:r>
              <a:rPr lang="es-ES" sz="4400" i="1" dirty="0" err="1">
                <a:solidFill>
                  <a:schemeClr val="bg1"/>
                </a:solidFill>
                <a:latin typeface="Telefonica Text" pitchFamily="2" charset="0"/>
              </a:rPr>
              <a:t>you</a:t>
            </a:r>
            <a:endParaRPr lang="es-ES" sz="4400" i="1" dirty="0">
              <a:solidFill>
                <a:schemeClr val="bg1"/>
              </a:solidFill>
              <a:latin typeface="Telefonica Tex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36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dafone">
  <a:themeElements>
    <a:clrScheme name="Custom 4">
      <a:dk1>
        <a:srgbClr val="000000"/>
      </a:dk1>
      <a:lt1>
        <a:srgbClr val="FFFFFF"/>
      </a:lt1>
      <a:dk2>
        <a:srgbClr val="5E2750"/>
      </a:dk2>
      <a:lt2>
        <a:srgbClr val="54575A"/>
      </a:lt2>
      <a:accent1>
        <a:srgbClr val="DE0400"/>
      </a:accent1>
      <a:accent2>
        <a:srgbClr val="A8B400"/>
      </a:accent2>
      <a:accent3>
        <a:srgbClr val="9D29A0"/>
      </a:accent3>
      <a:accent4>
        <a:srgbClr val="EC9700"/>
      </a:accent4>
      <a:accent5>
        <a:srgbClr val="02B0CB"/>
      </a:accent5>
      <a:accent6>
        <a:srgbClr val="FFCB00"/>
      </a:accent6>
      <a:hlink>
        <a:srgbClr val="DE0400"/>
      </a:hlink>
      <a:folHlink>
        <a:srgbClr val="DE0400"/>
      </a:folHlink>
    </a:clrScheme>
    <a:fontScheme name="Vodafone">
      <a:majorFont>
        <a:latin typeface="Vodafone Rg"/>
        <a:ea typeface=""/>
        <a:cs typeface=""/>
      </a:majorFont>
      <a:minorFont>
        <a:latin typeface="Vodafone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</a:spPr>
      <a:bodyPr spcFirstLastPara="0" vert="horz" wrap="square" lIns="6350" tIns="6350" rIns="6350" bIns="6350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1000" kern="1200" dirty="0" smtClean="0">
            <a:solidFill>
              <a:srgbClr val="34342B"/>
            </a:solidFill>
            <a:latin typeface="Vodafone Rg" pitchFamily="34" charset="0"/>
            <a:ea typeface="+mn-ea"/>
            <a:cs typeface="+mn-cs"/>
          </a:defRPr>
        </a:defPPr>
      </a:lstStyle>
      <a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0" indent="0">
          <a:buFont typeface="Arial" pitchFamily="34" charset="0"/>
          <a:buNone/>
          <a:defRPr sz="1600" dirty="0" smtClean="0">
            <a:latin typeface="Vodafone Rg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2C488B902C4D4385B7704CD2E51C82" ma:contentTypeVersion="3" ma:contentTypeDescription="Create a new document." ma:contentTypeScope="" ma:versionID="87879ae58a221fc8f71e5c5e8230f398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9dd530e3df1f86ebe7020055b570883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1D9EFB-5A2A-4A28-81FA-11B5B1BE5DAD}"/>
</file>

<file path=customXml/itemProps2.xml><?xml version="1.0" encoding="utf-8"?>
<ds:datastoreItem xmlns:ds="http://schemas.openxmlformats.org/officeDocument/2006/customXml" ds:itemID="{646C2435-F806-4C64-AF58-2E691843DB7B}"/>
</file>

<file path=customXml/itemProps3.xml><?xml version="1.0" encoding="utf-8"?>
<ds:datastoreItem xmlns:ds="http://schemas.openxmlformats.org/officeDocument/2006/customXml" ds:itemID="{EBFA9A8F-A1B0-4ABE-BB3D-F59AF8C0976A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8</Words>
  <Application>Microsoft Office PowerPoint</Application>
  <PresentationFormat>On-screen Show (16:9)</PresentationFormat>
  <Paragraphs>53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Vodafone Rg</vt:lpstr>
      <vt:lpstr>Vodafone Lt</vt:lpstr>
      <vt:lpstr>Telefonica Text</vt:lpstr>
      <vt:lpstr>Calibri</vt:lpstr>
      <vt:lpstr>Vodafone</vt:lpstr>
      <vt:lpstr>think-cell Slide</vt:lpstr>
      <vt:lpstr>PowerPoint Presentation</vt:lpstr>
      <vt:lpstr>Eco rating schemes and Consumers – What do they care?</vt:lpstr>
      <vt:lpstr>Some background…. </vt:lpstr>
      <vt:lpstr>“yes I think sustainability is important. But what is it about?”</vt:lpstr>
      <vt:lpstr>“I want a new phone, but do I the consider  Environmental &amp; Social impact important?” </vt:lpstr>
      <vt:lpstr>“So an eco rating is interesting, but which one should I use?”</vt:lpstr>
      <vt:lpstr>We need to educate the consumer, make it relevant to them, and standardize! </vt:lpstr>
      <vt:lpstr>Thank you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9</cp:revision>
  <cp:lastPrinted>2011-08-30T12:20:26Z</cp:lastPrinted>
  <dcterms:created xsi:type="dcterms:W3CDTF">2013-08-14T12:09:46Z</dcterms:created>
  <dcterms:modified xsi:type="dcterms:W3CDTF">2013-09-09T17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91942675</vt:i4>
  </property>
  <property fmtid="{D5CDD505-2E9C-101B-9397-08002B2CF9AE}" pid="3" name="_NewReviewCycle">
    <vt:lpwstr/>
  </property>
  <property fmtid="{D5CDD505-2E9C-101B-9397-08002B2CF9AE}" pid="4" name="ContentTypeId">
    <vt:lpwstr>0x010100162C488B902C4D4385B7704CD2E51C82</vt:lpwstr>
  </property>
</Properties>
</file>